
<file path=[Content_Types].xml><?xml version="1.0" encoding="utf-8"?>
<Types xmlns="http://schemas.openxmlformats.org/package/2006/content-types">
  <Default Extension="jpeg" ContentType="image/jpeg"/>
  <Default Extension="mov" ContentType="video/quicktime"/>
  <Default Extension="mp3" ContentType="audio/mpeg"/>
  <Default Extension="mp4" ContentType="video/mp4"/>
  <Default Extension="png" ContentType="image/png"/>
  <Default Extension="rels" ContentType="application/vnd.openxmlformats-package.relationships+xml"/>
  <Default Extension="wav" ContentType="audio/x-wav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14"/>
  </p:notesMasterIdLst>
  <p:sldIdLst>
    <p:sldId id="258" r:id="rId2"/>
    <p:sldId id="509" r:id="rId3"/>
    <p:sldId id="507" r:id="rId4"/>
    <p:sldId id="256" r:id="rId5"/>
    <p:sldId id="260" r:id="rId6"/>
    <p:sldId id="261" r:id="rId7"/>
    <p:sldId id="262" r:id="rId8"/>
    <p:sldId id="263" r:id="rId9"/>
    <p:sldId id="506" r:id="rId10"/>
    <p:sldId id="508" r:id="rId11"/>
    <p:sldId id="328" r:id="rId12"/>
    <p:sldId id="274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3557" autoAdjust="0"/>
  </p:normalViewPr>
  <p:slideViewPr>
    <p:cSldViewPr snapToGrid="0">
      <p:cViewPr varScale="1">
        <p:scale>
          <a:sx n="104" d="100"/>
          <a:sy n="104" d="100"/>
        </p:scale>
        <p:origin x="870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A9D688-2D70-4910-B829-D58C30914D7E}" type="datetimeFigureOut">
              <a:rPr lang="en-US" smtClean="0"/>
              <a:t>4/13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DFAB85-F665-49BA-B50C-5E160EE245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6234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DFAB85-F665-49BA-B50C-5E160EE2452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3488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n-US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DFAB85-F665-49BA-B50C-5E160EE2452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8649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DFAB85-F665-49BA-B50C-5E160EE2452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0124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DFAB85-F665-49BA-B50C-5E160EE2452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3811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6B89-F200-43AA-B36B-6A2EF4B500B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342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DFAB85-F665-49BA-B50C-5E160EE2452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5735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6B89-F200-43AA-B36B-6A2EF4B500B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2951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52FBC-5448-A695-409A-E60CD481DF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919F881-328A-3FCB-A9E0-580CF3989B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801A7E-6D2E-D1F3-F852-5175942FB3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22E37-B93B-4BA6-964B-E7D99B8D050D}" type="datetimeFigureOut">
              <a:rPr lang="en-US" smtClean="0"/>
              <a:t>4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DB7283-7B08-4215-FBAB-2C0847D9C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B5271D-8C7C-9127-B8D1-95C5CC702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34E72-E748-4FB9-8A9E-0F7139EF3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4690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97C14-FAF0-DFB3-FB1F-02493887AC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50DF218-54B4-6AD2-92BD-807B941EF67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1F0A41-2D56-9F44-C86B-C814461C9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22E37-B93B-4BA6-964B-E7D99B8D050D}" type="datetimeFigureOut">
              <a:rPr lang="en-US" smtClean="0"/>
              <a:t>4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C90EE4-A357-8FF0-893B-2C0E1D603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4825D4-3FF5-20FC-A1A3-8E7598056C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34E72-E748-4FB9-8A9E-0F7139EF3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17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CE42FBF-3CBE-C215-26C0-7C16D6476D6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205BB49-FDD0-D4C7-B61A-E7F7106D7D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3225A3-7340-7E09-AC9B-C5FD94E017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22E37-B93B-4BA6-964B-E7D99B8D050D}" type="datetimeFigureOut">
              <a:rPr lang="en-US" smtClean="0"/>
              <a:t>4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1436D0-8D99-0178-C9F1-662148F40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DC6A70-2A69-80C7-6989-BBC5CBF97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34E72-E748-4FB9-8A9E-0F7139EF3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2488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33310A-CFD5-D79E-572C-54CE3D8E1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4D869D-BC18-19EB-B63C-9DB0D23B15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6D3859-1118-1634-ACC2-B496399869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22E37-B93B-4BA6-964B-E7D99B8D050D}" type="datetimeFigureOut">
              <a:rPr lang="en-US" smtClean="0"/>
              <a:t>4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A2E83E-A908-B198-9530-E1DA7BE18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047594-FCFA-28B1-D42C-65B6733BA1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34E72-E748-4FB9-8A9E-0F7139EF3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5344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0E54B4-E3F9-076D-A756-F48D55436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D03A1B-8914-22F8-4870-351FEA59F6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4DDDC8-6295-3F7E-D225-2720CCE431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22E37-B93B-4BA6-964B-E7D99B8D050D}" type="datetimeFigureOut">
              <a:rPr lang="en-US" smtClean="0"/>
              <a:t>4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F89D2C-7752-22A4-5400-1FCCCFE9FF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B2DD5D-43C4-F986-352C-D7390DE31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34E72-E748-4FB9-8A9E-0F7139EF3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795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9B4485-8971-0342-D235-212FE9FA6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3052BA-E0D2-3232-F62E-11434DB8C39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2E9A87-3B83-43C4-C583-931AD1B4A0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08C530-C539-36C3-930B-280AA867FA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22E37-B93B-4BA6-964B-E7D99B8D050D}" type="datetimeFigureOut">
              <a:rPr lang="en-US" smtClean="0"/>
              <a:t>4/1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945904-DC2C-E644-42D0-028F6485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59FB50-A00D-FB64-80E0-B5205AA1C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34E72-E748-4FB9-8A9E-0F7139EF3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3839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F6374A-5629-49D7-2553-A3FA64E78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30A48F-D39C-224B-64FD-EDA80A8408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26029C-59C4-3426-F3D7-2B1339ED3B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C1038-F1B9-7900-9EE0-C522C8562F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378428D-AA92-730A-2D97-7DFC09F4C7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61BC9ED-6CBB-89A6-B946-1150591819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22E37-B93B-4BA6-964B-E7D99B8D050D}" type="datetimeFigureOut">
              <a:rPr lang="en-US" smtClean="0"/>
              <a:t>4/13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71A46E-68E1-93BF-B5CB-198C4ED951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556762-6B3B-7D3A-C178-9800837355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34E72-E748-4FB9-8A9E-0F7139EF3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4004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72BDEA-9AA4-C458-8377-1992B377F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EED2AB-AC50-6117-A904-F950FBF80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22E37-B93B-4BA6-964B-E7D99B8D050D}" type="datetimeFigureOut">
              <a:rPr lang="en-US" smtClean="0"/>
              <a:t>4/13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B8E0D5D-D1A3-A1E8-0943-A3AAAF1F38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7FCCD0-B728-3B22-C606-8A3C05446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34E72-E748-4FB9-8A9E-0F7139EF3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9625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07F5E8-1625-E89E-B4D9-1CC3A3194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22E37-B93B-4BA6-964B-E7D99B8D050D}" type="datetimeFigureOut">
              <a:rPr lang="en-US" smtClean="0"/>
              <a:t>4/13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3C3241-7CFD-C34F-CCDC-46D9F3AB79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0C54E0-39FF-5727-421B-5CB5C6235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34E72-E748-4FB9-8A9E-0F7139EF3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76110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5AC92A-6254-FD98-C1D6-2F874FAEC7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AB9829-0F8B-CC4C-D33C-2C120EAE79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EECF54-F0AD-EC3F-D038-5CAA94FCED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6BAA8B-73D1-84F4-69C1-DAACA5444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22E37-B93B-4BA6-964B-E7D99B8D050D}" type="datetimeFigureOut">
              <a:rPr lang="en-US" smtClean="0"/>
              <a:t>4/1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9BCC62-869B-7E39-C09A-2F186BFE53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0FDFC7-4BD5-8BEC-3D88-924311C0B0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34E72-E748-4FB9-8A9E-0F7139EF3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149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C4C72A-FB7B-E979-F15A-F0E2FD115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A72C2BC-1261-51D3-1108-1815E6CE01F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5B611D-7111-1D22-C296-E7D9DC5012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782BEB-DCA8-BA2C-2178-8A18682A82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22E37-B93B-4BA6-964B-E7D99B8D050D}" type="datetimeFigureOut">
              <a:rPr lang="en-US" smtClean="0"/>
              <a:t>4/1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E3099E-5368-F528-D400-6040553091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CE82F0-226C-5225-ACBE-75497A5DA7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34E72-E748-4FB9-8A9E-0F7139EF3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3667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A0C926C-83F2-CCAD-472A-56C53C8B1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238D42-12DC-05D0-5EBC-FE8554AA2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B72096-330F-1636-641E-0D8EBC8896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422E37-B93B-4BA6-964B-E7D99B8D050D}" type="datetimeFigureOut">
              <a:rPr lang="en-US" smtClean="0"/>
              <a:t>4/1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38912E-85D4-F3FD-021B-2D0A1AF158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F6A117-95C2-2226-FCF5-BD977BCE93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F34E72-E748-4FB9-8A9E-0F7139EF3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269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audio" Target="../media/audio3.wav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audio" Target="../media/media2.mp3"/><Relationship Id="rId7" Type="http://schemas.openxmlformats.org/officeDocument/2006/relationships/image" Target="../media/image3.png"/><Relationship Id="rId2" Type="http://schemas.microsoft.com/office/2007/relationships/media" Target="../media/media2.mp3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audio" Target="../media/media2.mp3"/><Relationship Id="rId7" Type="http://schemas.openxmlformats.org/officeDocument/2006/relationships/image" Target="../media/image3.png"/><Relationship Id="rId2" Type="http://schemas.microsoft.com/office/2007/relationships/media" Target="../media/media2.mp3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" Target="slide7.xml"/><Relationship Id="rId3" Type="http://schemas.openxmlformats.org/officeDocument/2006/relationships/audio" Target="../media/audio1.wav"/><Relationship Id="rId7" Type="http://schemas.openxmlformats.org/officeDocument/2006/relationships/slide" Target="slide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slide" Target="slide5.xml"/><Relationship Id="rId5" Type="http://schemas.openxmlformats.org/officeDocument/2006/relationships/image" Target="../media/image4.png"/><Relationship Id="rId10" Type="http://schemas.openxmlformats.org/officeDocument/2006/relationships/slide" Target="slide9.xml"/><Relationship Id="rId4" Type="http://schemas.openxmlformats.org/officeDocument/2006/relationships/audio" Target="../media/audio2.wav"/><Relationship Id="rId9" Type="http://schemas.openxmlformats.org/officeDocument/2006/relationships/slide" Target="slide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" Target="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" Target="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" Target="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" Target="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ov"/><Relationship Id="rId1" Type="http://schemas.microsoft.com/office/2007/relationships/media" Target="../media/media3.mov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này bạn thân yêu ơi">
            <a:hlinkClick r:id="" action="ppaction://media"/>
            <a:extLst>
              <a:ext uri="{FF2B5EF4-FFF2-40B4-BE49-F238E27FC236}">
                <a16:creationId xmlns:a16="http://schemas.microsoft.com/office/drawing/2014/main" id="{7134F174-B519-4A7C-EA7A-C86FAF1A3D9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26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1487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A5619826-736C-3133-70EE-D8634C49EFAA}"/>
              </a:ext>
            </a:extLst>
          </p:cNvPr>
          <p:cNvSpPr txBox="1">
            <a:spLocks/>
          </p:cNvSpPr>
          <p:nvPr/>
        </p:nvSpPr>
        <p:spPr>
          <a:xfrm>
            <a:off x="2746744" y="6039042"/>
            <a:ext cx="66985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3 936 : 3 = ?</a:t>
            </a:r>
          </a:p>
        </p:txBody>
      </p:sp>
      <p:pic>
        <p:nvPicPr>
          <p:cNvPr id="12" name="Picture 11" descr="A cartoon of people in a garden&#10;&#10;AI-generated content may be incorrect.">
            <a:extLst>
              <a:ext uri="{FF2B5EF4-FFF2-40B4-BE49-F238E27FC236}">
                <a16:creationId xmlns:a16="http://schemas.microsoft.com/office/drawing/2014/main" id="{A17C051B-0DE2-974E-38A9-56456D6A50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039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96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25231003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EC10D03F-C810-9D58-0E10-2CBB63FA25EB}"/>
              </a:ext>
            </a:extLst>
          </p:cNvPr>
          <p:cNvSpPr/>
          <p:nvPr/>
        </p:nvSpPr>
        <p:spPr>
          <a:xfrm>
            <a:off x="1701029" y="5194502"/>
            <a:ext cx="3881273" cy="756471"/>
          </a:xfrm>
          <a:prstGeom prst="roundRect">
            <a:avLst/>
          </a:prstGeom>
          <a:solidFill>
            <a:srgbClr val="FF3399">
              <a:alpha val="3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996" b="1" dirty="0" err="1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ậy</a:t>
            </a:r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3936 : 3 = 1312</a:t>
            </a:r>
          </a:p>
        </p:txBody>
      </p:sp>
      <p:cxnSp>
        <p:nvCxnSpPr>
          <p:cNvPr id="34" name="Straight Connector 33"/>
          <p:cNvCxnSpPr>
            <a:cxnSpLocks/>
          </p:cNvCxnSpPr>
          <p:nvPr/>
        </p:nvCxnSpPr>
        <p:spPr>
          <a:xfrm flipH="1">
            <a:off x="2506827" y="1099199"/>
            <a:ext cx="11592" cy="1473638"/>
          </a:xfrm>
          <a:prstGeom prst="line">
            <a:avLst/>
          </a:prstGeom>
          <a:ln w="28575">
            <a:solidFill>
              <a:srgbClr val="0000F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/>
          <p:cNvCxnSpPr>
            <a:cxnSpLocks/>
          </p:cNvCxnSpPr>
          <p:nvPr/>
        </p:nvCxnSpPr>
        <p:spPr>
          <a:xfrm flipV="1">
            <a:off x="2493398" y="1638756"/>
            <a:ext cx="1336655" cy="697"/>
          </a:xfrm>
          <a:prstGeom prst="line">
            <a:avLst/>
          </a:prstGeom>
          <a:ln w="28575">
            <a:solidFill>
              <a:srgbClr val="0000F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TextBox 31"/>
          <p:cNvSpPr txBox="1">
            <a:spLocks/>
          </p:cNvSpPr>
          <p:nvPr/>
        </p:nvSpPr>
        <p:spPr>
          <a:xfrm>
            <a:off x="1588506" y="1088821"/>
            <a:ext cx="1025765" cy="553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936</a:t>
            </a:r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2753562" y="1055489"/>
            <a:ext cx="1025765" cy="553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3" name="Rectangle 2"/>
          <p:cNvSpPr/>
          <p:nvPr/>
        </p:nvSpPr>
        <p:spPr>
          <a:xfrm>
            <a:off x="1789915" y="1089066"/>
            <a:ext cx="377026" cy="5533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endParaRPr lang="en-US" sz="2996" dirty="0"/>
          </a:p>
        </p:txBody>
      </p:sp>
      <p:sp>
        <p:nvSpPr>
          <p:cNvPr id="4" name="Rectangle 3"/>
          <p:cNvSpPr/>
          <p:nvPr/>
        </p:nvSpPr>
        <p:spPr>
          <a:xfrm>
            <a:off x="1965605" y="1080376"/>
            <a:ext cx="377026" cy="5533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en-US" sz="2996" dirty="0"/>
          </a:p>
        </p:txBody>
      </p:sp>
      <p:sp>
        <p:nvSpPr>
          <p:cNvPr id="6" name="Rectangle 5"/>
          <p:cNvSpPr/>
          <p:nvPr/>
        </p:nvSpPr>
        <p:spPr>
          <a:xfrm>
            <a:off x="2162297" y="1087987"/>
            <a:ext cx="377026" cy="5533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endParaRPr lang="en-US" sz="2996" dirty="0"/>
          </a:p>
        </p:txBody>
      </p:sp>
      <p:sp>
        <p:nvSpPr>
          <p:cNvPr id="7" name="Rectangle 6"/>
          <p:cNvSpPr/>
          <p:nvPr/>
        </p:nvSpPr>
        <p:spPr>
          <a:xfrm>
            <a:off x="2500115" y="1659596"/>
            <a:ext cx="377026" cy="5533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lang="en-US" sz="2996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TextBox 44"/>
          <p:cNvSpPr txBox="1">
            <a:spLocks/>
          </p:cNvSpPr>
          <p:nvPr/>
        </p:nvSpPr>
        <p:spPr>
          <a:xfrm>
            <a:off x="1588506" y="1488364"/>
            <a:ext cx="1025765" cy="553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</p:txBody>
      </p:sp>
      <p:cxnSp>
        <p:nvCxnSpPr>
          <p:cNvPr id="14" name="Straight Connector 13"/>
          <p:cNvCxnSpPr>
            <a:endCxn id="45" idx="2"/>
          </p:cNvCxnSpPr>
          <p:nvPr/>
        </p:nvCxnSpPr>
        <p:spPr>
          <a:xfrm>
            <a:off x="1586875" y="2018606"/>
            <a:ext cx="514514" cy="23115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" name="TextBox 49"/>
          <p:cNvSpPr txBox="1">
            <a:spLocks/>
          </p:cNvSpPr>
          <p:nvPr/>
        </p:nvSpPr>
        <p:spPr>
          <a:xfrm>
            <a:off x="1588506" y="2042596"/>
            <a:ext cx="1025765" cy="553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</a:p>
        </p:txBody>
      </p:sp>
      <p:cxnSp>
        <p:nvCxnSpPr>
          <p:cNvPr id="54" name="Straight Connector 53"/>
          <p:cNvCxnSpPr/>
          <p:nvPr/>
        </p:nvCxnSpPr>
        <p:spPr>
          <a:xfrm>
            <a:off x="1700214" y="2858225"/>
            <a:ext cx="514513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TextBox 67"/>
          <p:cNvSpPr txBox="1">
            <a:spLocks/>
          </p:cNvSpPr>
          <p:nvPr/>
        </p:nvSpPr>
        <p:spPr>
          <a:xfrm>
            <a:off x="1816816" y="2344527"/>
            <a:ext cx="1025765" cy="553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758107" y="2784604"/>
            <a:ext cx="1025765" cy="553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2728426" y="1659596"/>
            <a:ext cx="1025765" cy="553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71" name="Rectangle 70"/>
          <p:cNvSpPr/>
          <p:nvPr/>
        </p:nvSpPr>
        <p:spPr>
          <a:xfrm>
            <a:off x="2898253" y="1659596"/>
            <a:ext cx="377026" cy="5533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lang="en-US" sz="2996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" name="TextBox 71"/>
          <p:cNvSpPr txBox="1">
            <a:spLocks/>
          </p:cNvSpPr>
          <p:nvPr/>
        </p:nvSpPr>
        <p:spPr>
          <a:xfrm>
            <a:off x="1988048" y="3127069"/>
            <a:ext cx="1025765" cy="553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</p:txBody>
      </p:sp>
      <p:cxnSp>
        <p:nvCxnSpPr>
          <p:cNvPr id="73" name="Straight Connector 72"/>
          <p:cNvCxnSpPr/>
          <p:nvPr/>
        </p:nvCxnSpPr>
        <p:spPr>
          <a:xfrm>
            <a:off x="1928525" y="3657310"/>
            <a:ext cx="514513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4" name="TextBox 73"/>
          <p:cNvSpPr txBox="1">
            <a:spLocks/>
          </p:cNvSpPr>
          <p:nvPr/>
        </p:nvSpPr>
        <p:spPr>
          <a:xfrm>
            <a:off x="1988048" y="3627337"/>
            <a:ext cx="1025765" cy="553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</a:p>
        </p:txBody>
      </p:sp>
      <p:sp>
        <p:nvSpPr>
          <p:cNvPr id="75" name="Rectangle 74"/>
          <p:cNvSpPr/>
          <p:nvPr/>
        </p:nvSpPr>
        <p:spPr>
          <a:xfrm>
            <a:off x="3082916" y="1659596"/>
            <a:ext cx="377026" cy="5533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en-US" sz="2996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TextBox 75"/>
          <p:cNvSpPr txBox="1">
            <a:spLocks/>
          </p:cNvSpPr>
          <p:nvPr/>
        </p:nvSpPr>
        <p:spPr>
          <a:xfrm>
            <a:off x="2171080" y="3983232"/>
            <a:ext cx="1025765" cy="553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</a:p>
        </p:txBody>
      </p:sp>
      <p:cxnSp>
        <p:nvCxnSpPr>
          <p:cNvPr id="77" name="Straight Connector 76"/>
          <p:cNvCxnSpPr/>
          <p:nvPr/>
        </p:nvCxnSpPr>
        <p:spPr>
          <a:xfrm>
            <a:off x="2162297" y="4519944"/>
            <a:ext cx="514513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TextBox 77"/>
          <p:cNvSpPr txBox="1">
            <a:spLocks/>
          </p:cNvSpPr>
          <p:nvPr/>
        </p:nvSpPr>
        <p:spPr>
          <a:xfrm>
            <a:off x="2157650" y="4439852"/>
            <a:ext cx="1025765" cy="553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996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1942769" y="1374209"/>
            <a:ext cx="0" cy="81562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>
          <a:xfrm>
            <a:off x="2157650" y="1374209"/>
            <a:ext cx="0" cy="163870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>
          <a:xfrm>
            <a:off x="2328882" y="1374209"/>
            <a:ext cx="0" cy="255506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8083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60743E-6 1.38889E-6 L 0.00175 0.13819 " pathEditMode="relative" rAng="0" ptsTypes="AA">
                                      <p:cBhvr>
                                        <p:cTn id="39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" y="6910"/>
                                    </p:animMotion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38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himes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6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60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himes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9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9.64596E-7 5E-6 L 0.00224 0.3698 " pathEditMode="relative" rAng="0" ptsTypes="AA">
                                      <p:cBhvr>
                                        <p:cTn id="83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7" y="18490"/>
                                    </p:animMotion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82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himes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8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109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4" name="breeze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11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33" grpId="0"/>
      <p:bldP spid="3" grpId="0"/>
      <p:bldP spid="4" grpId="0"/>
      <p:bldP spid="6" grpId="0"/>
      <p:bldP spid="7" grpId="0"/>
      <p:bldP spid="45" grpId="0"/>
      <p:bldP spid="50" grpId="0"/>
      <p:bldP spid="68" grpId="0"/>
      <p:bldP spid="69" grpId="0"/>
      <p:bldP spid="70" grpId="0"/>
      <p:bldP spid="71" grpId="0"/>
      <p:bldP spid="72" grpId="0"/>
      <p:bldP spid="74" grpId="0"/>
      <p:bldP spid="75" grpId="0"/>
      <p:bldP spid="76" grpId="0"/>
      <p:bldP spid="7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D8C3B8B-8455-BFC3-198F-BEDA465FA00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49"/>
          <a:stretch/>
        </p:blipFill>
        <p:spPr>
          <a:xfrm>
            <a:off x="-152400" y="-9244"/>
            <a:ext cx="12344400" cy="686724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D7A4637A-4ADE-AE64-DABA-70D6A845C77C}"/>
              </a:ext>
            </a:extLst>
          </p:cNvPr>
          <p:cNvGrpSpPr/>
          <p:nvPr/>
        </p:nvGrpSpPr>
        <p:grpSpPr>
          <a:xfrm>
            <a:off x="2460529" y="1764476"/>
            <a:ext cx="6303900" cy="1417156"/>
            <a:chOff x="2245128" y="1721946"/>
            <a:chExt cx="6303900" cy="141715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7D4011B-B8EA-47C8-0BC7-DB06BB830C4F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245128" y="1721946"/>
              <a:ext cx="6302312" cy="1417156"/>
            </a:xfrm>
            <a:custGeom>
              <a:avLst/>
              <a:gdLst/>
              <a:ahLst/>
              <a:cxnLst/>
              <a:rect l="l" t="t" r="r" b="b"/>
              <a:pathLst>
                <a:path w="6302312" h="1417156">
                  <a:moveTo>
                    <a:pt x="4280362" y="1229958"/>
                  </a:moveTo>
                  <a:cubicBezTo>
                    <a:pt x="4339273" y="1229958"/>
                    <a:pt x="4368728" y="1262126"/>
                    <a:pt x="4368728" y="1326463"/>
                  </a:cubicBezTo>
                  <a:cubicBezTo>
                    <a:pt x="4368728" y="1386925"/>
                    <a:pt x="4338885" y="1417156"/>
                    <a:pt x="4279199" y="1417156"/>
                  </a:cubicBezTo>
                  <a:cubicBezTo>
                    <a:pt x="4252844" y="1417156"/>
                    <a:pt x="4230753" y="1409404"/>
                    <a:pt x="4212924" y="1393901"/>
                  </a:cubicBezTo>
                  <a:cubicBezTo>
                    <a:pt x="4194320" y="1377623"/>
                    <a:pt x="4185019" y="1354756"/>
                    <a:pt x="4185019" y="1325301"/>
                  </a:cubicBezTo>
                  <a:cubicBezTo>
                    <a:pt x="4185019" y="1261739"/>
                    <a:pt x="4216800" y="1229958"/>
                    <a:pt x="4280362" y="1229958"/>
                  </a:cubicBezTo>
                  <a:close/>
                  <a:moveTo>
                    <a:pt x="686004" y="1164845"/>
                  </a:moveTo>
                  <a:cubicBezTo>
                    <a:pt x="686004" y="1166008"/>
                    <a:pt x="685956" y="1166153"/>
                    <a:pt x="685859" y="1165281"/>
                  </a:cubicBezTo>
                  <a:lnTo>
                    <a:pt x="685849" y="1165156"/>
                  </a:lnTo>
                  <a:close/>
                  <a:moveTo>
                    <a:pt x="3443724" y="554418"/>
                  </a:moveTo>
                  <a:lnTo>
                    <a:pt x="3403029" y="556743"/>
                  </a:lnTo>
                  <a:lnTo>
                    <a:pt x="3403029" y="638133"/>
                  </a:lnTo>
                  <a:lnTo>
                    <a:pt x="3499535" y="635808"/>
                  </a:lnTo>
                  <a:lnTo>
                    <a:pt x="3487908" y="831145"/>
                  </a:lnTo>
                  <a:cubicBezTo>
                    <a:pt x="3468529" y="830370"/>
                    <a:pt x="3452251" y="829788"/>
                    <a:pt x="3439073" y="829401"/>
                  </a:cubicBezTo>
                  <a:cubicBezTo>
                    <a:pt x="3425896" y="829013"/>
                    <a:pt x="3415432" y="828819"/>
                    <a:pt x="3407680" y="828819"/>
                  </a:cubicBezTo>
                  <a:lnTo>
                    <a:pt x="3410005" y="889281"/>
                  </a:lnTo>
                  <a:lnTo>
                    <a:pt x="3434423" y="889281"/>
                  </a:lnTo>
                  <a:cubicBezTo>
                    <a:pt x="3460778" y="889281"/>
                    <a:pt x="3479381" y="886955"/>
                    <a:pt x="3490233" y="882304"/>
                  </a:cubicBezTo>
                  <a:cubicBezTo>
                    <a:pt x="3500310" y="878429"/>
                    <a:pt x="3512713" y="866802"/>
                    <a:pt x="3527440" y="847423"/>
                  </a:cubicBezTo>
                  <a:cubicBezTo>
                    <a:pt x="3548369" y="818743"/>
                    <a:pt x="3558834" y="775334"/>
                    <a:pt x="3558834" y="717198"/>
                  </a:cubicBezTo>
                  <a:cubicBezTo>
                    <a:pt x="3558834" y="651311"/>
                    <a:pt x="3546819" y="605190"/>
                    <a:pt x="3522789" y="578835"/>
                  </a:cubicBezTo>
                  <a:cubicBezTo>
                    <a:pt x="3507286" y="562557"/>
                    <a:pt x="3480931" y="554418"/>
                    <a:pt x="3443724" y="554418"/>
                  </a:cubicBezTo>
                  <a:close/>
                  <a:moveTo>
                    <a:pt x="4287338" y="531163"/>
                  </a:moveTo>
                  <a:cubicBezTo>
                    <a:pt x="4265634" y="531163"/>
                    <a:pt x="4241217" y="541240"/>
                    <a:pt x="4214087" y="561394"/>
                  </a:cubicBezTo>
                  <a:cubicBezTo>
                    <a:pt x="4184631" y="586199"/>
                    <a:pt x="4169903" y="638909"/>
                    <a:pt x="4169903" y="719524"/>
                  </a:cubicBezTo>
                  <a:cubicBezTo>
                    <a:pt x="4169903" y="778435"/>
                    <a:pt x="4176880" y="823393"/>
                    <a:pt x="4190832" y="854399"/>
                  </a:cubicBezTo>
                  <a:cubicBezTo>
                    <a:pt x="4207886" y="897807"/>
                    <a:pt x="4239279" y="918736"/>
                    <a:pt x="4285013" y="917186"/>
                  </a:cubicBezTo>
                  <a:cubicBezTo>
                    <a:pt x="4330746" y="917186"/>
                    <a:pt x="4360589" y="896645"/>
                    <a:pt x="4374542" y="855562"/>
                  </a:cubicBezTo>
                  <a:cubicBezTo>
                    <a:pt x="4388495" y="812929"/>
                    <a:pt x="4395471" y="769521"/>
                    <a:pt x="4395471" y="725337"/>
                  </a:cubicBezTo>
                  <a:cubicBezTo>
                    <a:pt x="4395471" y="671077"/>
                    <a:pt x="4385782" y="624956"/>
                    <a:pt x="4366403" y="586974"/>
                  </a:cubicBezTo>
                  <a:cubicBezTo>
                    <a:pt x="4346249" y="549767"/>
                    <a:pt x="4319894" y="531163"/>
                    <a:pt x="4287338" y="531163"/>
                  </a:cubicBezTo>
                  <a:close/>
                  <a:moveTo>
                    <a:pt x="1887038" y="531163"/>
                  </a:moveTo>
                  <a:cubicBezTo>
                    <a:pt x="1865334" y="531163"/>
                    <a:pt x="1840917" y="541240"/>
                    <a:pt x="1813787" y="561394"/>
                  </a:cubicBezTo>
                  <a:cubicBezTo>
                    <a:pt x="1784331" y="586199"/>
                    <a:pt x="1769603" y="638909"/>
                    <a:pt x="1769603" y="719524"/>
                  </a:cubicBezTo>
                  <a:cubicBezTo>
                    <a:pt x="1769603" y="778435"/>
                    <a:pt x="1776580" y="823393"/>
                    <a:pt x="1790533" y="854399"/>
                  </a:cubicBezTo>
                  <a:cubicBezTo>
                    <a:pt x="1807586" y="897807"/>
                    <a:pt x="1838979" y="918736"/>
                    <a:pt x="1884713" y="917186"/>
                  </a:cubicBezTo>
                  <a:cubicBezTo>
                    <a:pt x="1930446" y="917186"/>
                    <a:pt x="1960290" y="896645"/>
                    <a:pt x="1974242" y="855562"/>
                  </a:cubicBezTo>
                  <a:cubicBezTo>
                    <a:pt x="1988195" y="812929"/>
                    <a:pt x="1995171" y="769521"/>
                    <a:pt x="1995171" y="725337"/>
                  </a:cubicBezTo>
                  <a:cubicBezTo>
                    <a:pt x="1995171" y="671077"/>
                    <a:pt x="1985482" y="624956"/>
                    <a:pt x="1966103" y="586974"/>
                  </a:cubicBezTo>
                  <a:cubicBezTo>
                    <a:pt x="1945949" y="549767"/>
                    <a:pt x="1919594" y="531163"/>
                    <a:pt x="1887038" y="531163"/>
                  </a:cubicBezTo>
                  <a:close/>
                  <a:moveTo>
                    <a:pt x="2619430" y="330013"/>
                  </a:moveTo>
                  <a:lnTo>
                    <a:pt x="2619430" y="576509"/>
                  </a:lnTo>
                  <a:cubicBezTo>
                    <a:pt x="2619430" y="667976"/>
                    <a:pt x="2620206" y="750917"/>
                    <a:pt x="2621756" y="825331"/>
                  </a:cubicBezTo>
                  <a:cubicBezTo>
                    <a:pt x="2623306" y="899745"/>
                    <a:pt x="2625632" y="966408"/>
                    <a:pt x="2628732" y="1025319"/>
                  </a:cubicBezTo>
                  <a:lnTo>
                    <a:pt x="2631058" y="1110198"/>
                  </a:lnTo>
                  <a:cubicBezTo>
                    <a:pt x="2631058" y="1133452"/>
                    <a:pt x="2628732" y="1147792"/>
                    <a:pt x="2624081" y="1153218"/>
                  </a:cubicBezTo>
                  <a:lnTo>
                    <a:pt x="2333402" y="1141591"/>
                  </a:lnTo>
                  <a:lnTo>
                    <a:pt x="2335727" y="596275"/>
                  </a:lnTo>
                  <a:cubicBezTo>
                    <a:pt x="2336502" y="559068"/>
                    <a:pt x="2336890" y="519148"/>
                    <a:pt x="2336890" y="476515"/>
                  </a:cubicBezTo>
                  <a:cubicBezTo>
                    <a:pt x="2336890" y="433882"/>
                    <a:pt x="2336890" y="387761"/>
                    <a:pt x="2336890" y="338152"/>
                  </a:cubicBezTo>
                  <a:lnTo>
                    <a:pt x="2404327" y="338152"/>
                  </a:lnTo>
                  <a:cubicBezTo>
                    <a:pt x="2426807" y="338152"/>
                    <a:pt x="2449867" y="337764"/>
                    <a:pt x="2473509" y="336989"/>
                  </a:cubicBezTo>
                  <a:cubicBezTo>
                    <a:pt x="2497151" y="336214"/>
                    <a:pt x="2521374" y="335051"/>
                    <a:pt x="2546179" y="333501"/>
                  </a:cubicBezTo>
                  <a:close/>
                  <a:moveTo>
                    <a:pt x="3461165" y="311409"/>
                  </a:moveTo>
                  <a:cubicBezTo>
                    <a:pt x="3576662" y="311409"/>
                    <a:pt x="3664254" y="335051"/>
                    <a:pt x="3723940" y="382335"/>
                  </a:cubicBezTo>
                  <a:cubicBezTo>
                    <a:pt x="3791378" y="435820"/>
                    <a:pt x="3825096" y="542403"/>
                    <a:pt x="3825096" y="702083"/>
                  </a:cubicBezTo>
                  <a:cubicBezTo>
                    <a:pt x="3825096" y="854787"/>
                    <a:pt x="3797191" y="965245"/>
                    <a:pt x="3741381" y="1033458"/>
                  </a:cubicBezTo>
                  <a:cubicBezTo>
                    <a:pt x="3681694" y="1107872"/>
                    <a:pt x="3566585" y="1145079"/>
                    <a:pt x="3396053" y="1145079"/>
                  </a:cubicBezTo>
                  <a:lnTo>
                    <a:pt x="3335591" y="1145079"/>
                  </a:lnTo>
                  <a:cubicBezTo>
                    <a:pt x="3241024" y="1145079"/>
                    <a:pt x="3164284" y="1143916"/>
                    <a:pt x="3105373" y="1141591"/>
                  </a:cubicBezTo>
                  <a:lnTo>
                    <a:pt x="3120488" y="856725"/>
                  </a:lnTo>
                  <a:lnTo>
                    <a:pt x="3120488" y="831145"/>
                  </a:lnTo>
                  <a:lnTo>
                    <a:pt x="3100722" y="831145"/>
                  </a:lnTo>
                  <a:cubicBezTo>
                    <a:pt x="3099947" y="824944"/>
                    <a:pt x="3099559" y="816223"/>
                    <a:pt x="3099559" y="804984"/>
                  </a:cubicBezTo>
                  <a:cubicBezTo>
                    <a:pt x="3099559" y="793744"/>
                    <a:pt x="3099559" y="779598"/>
                    <a:pt x="3099559" y="762544"/>
                  </a:cubicBezTo>
                  <a:lnTo>
                    <a:pt x="3099559" y="700920"/>
                  </a:lnTo>
                  <a:cubicBezTo>
                    <a:pt x="3099559" y="686192"/>
                    <a:pt x="3099559" y="673790"/>
                    <a:pt x="3099559" y="663713"/>
                  </a:cubicBezTo>
                  <a:cubicBezTo>
                    <a:pt x="3099559" y="653636"/>
                    <a:pt x="3099172" y="645885"/>
                    <a:pt x="3098397" y="640459"/>
                  </a:cubicBezTo>
                  <a:lnTo>
                    <a:pt x="3125139" y="640459"/>
                  </a:lnTo>
                  <a:lnTo>
                    <a:pt x="3121651" y="320711"/>
                  </a:lnTo>
                  <a:lnTo>
                    <a:pt x="3190251" y="319548"/>
                  </a:lnTo>
                  <a:cubicBezTo>
                    <a:pt x="3203429" y="319548"/>
                    <a:pt x="3250713" y="318385"/>
                    <a:pt x="3332103" y="316060"/>
                  </a:cubicBezTo>
                  <a:cubicBezTo>
                    <a:pt x="3349932" y="314510"/>
                    <a:pt x="3369698" y="313347"/>
                    <a:pt x="3391402" y="312572"/>
                  </a:cubicBezTo>
                  <a:cubicBezTo>
                    <a:pt x="3413106" y="311797"/>
                    <a:pt x="3436361" y="311409"/>
                    <a:pt x="3461165" y="311409"/>
                  </a:cubicBezTo>
                  <a:close/>
                  <a:moveTo>
                    <a:pt x="4740678" y="286992"/>
                  </a:moveTo>
                  <a:cubicBezTo>
                    <a:pt x="4746879" y="286992"/>
                    <a:pt x="4761607" y="287961"/>
                    <a:pt x="4784861" y="289899"/>
                  </a:cubicBezTo>
                  <a:cubicBezTo>
                    <a:pt x="4808116" y="291837"/>
                    <a:pt x="4839897" y="294743"/>
                    <a:pt x="4880204" y="298619"/>
                  </a:cubicBezTo>
                  <a:cubicBezTo>
                    <a:pt x="4924388" y="302495"/>
                    <a:pt x="4960432" y="305595"/>
                    <a:pt x="4988337" y="307921"/>
                  </a:cubicBezTo>
                  <a:cubicBezTo>
                    <a:pt x="5016242" y="310246"/>
                    <a:pt x="5036784" y="311409"/>
                    <a:pt x="5049961" y="311409"/>
                  </a:cubicBezTo>
                  <a:cubicBezTo>
                    <a:pt x="5098795" y="311409"/>
                    <a:pt x="5124375" y="312959"/>
                    <a:pt x="5126701" y="316060"/>
                  </a:cubicBezTo>
                  <a:cubicBezTo>
                    <a:pt x="5131352" y="323811"/>
                    <a:pt x="5150343" y="396675"/>
                    <a:pt x="5183674" y="534651"/>
                  </a:cubicBezTo>
                  <a:cubicBezTo>
                    <a:pt x="5196852" y="590462"/>
                    <a:pt x="5210029" y="647241"/>
                    <a:pt x="5223207" y="704990"/>
                  </a:cubicBezTo>
                  <a:cubicBezTo>
                    <a:pt x="5236384" y="762738"/>
                    <a:pt x="5249561" y="821843"/>
                    <a:pt x="5262739" y="882304"/>
                  </a:cubicBezTo>
                  <a:lnTo>
                    <a:pt x="5262739" y="848586"/>
                  </a:lnTo>
                  <a:cubicBezTo>
                    <a:pt x="5262739" y="723012"/>
                    <a:pt x="5260414" y="632320"/>
                    <a:pt x="5255763" y="576509"/>
                  </a:cubicBezTo>
                  <a:lnTo>
                    <a:pt x="5237159" y="324199"/>
                  </a:lnTo>
                  <a:cubicBezTo>
                    <a:pt x="5406141" y="324199"/>
                    <a:pt x="5492957" y="326524"/>
                    <a:pt x="5497608" y="331175"/>
                  </a:cubicBezTo>
                  <a:cubicBezTo>
                    <a:pt x="5499159" y="332726"/>
                    <a:pt x="5499934" y="359856"/>
                    <a:pt x="5499934" y="412566"/>
                  </a:cubicBezTo>
                  <a:cubicBezTo>
                    <a:pt x="5499934" y="444347"/>
                    <a:pt x="5499934" y="476321"/>
                    <a:pt x="5499934" y="508490"/>
                  </a:cubicBezTo>
                  <a:cubicBezTo>
                    <a:pt x="5499934" y="540659"/>
                    <a:pt x="5499546" y="574184"/>
                    <a:pt x="5498771" y="609065"/>
                  </a:cubicBezTo>
                  <a:cubicBezTo>
                    <a:pt x="5497996" y="643947"/>
                    <a:pt x="5497608" y="681348"/>
                    <a:pt x="5497608" y="721268"/>
                  </a:cubicBezTo>
                  <a:cubicBezTo>
                    <a:pt x="5497608" y="761188"/>
                    <a:pt x="5497608" y="804402"/>
                    <a:pt x="5497608" y="850911"/>
                  </a:cubicBezTo>
                  <a:cubicBezTo>
                    <a:pt x="5497608" y="919124"/>
                    <a:pt x="5498190" y="977648"/>
                    <a:pt x="5499352" y="1026482"/>
                  </a:cubicBezTo>
                  <a:cubicBezTo>
                    <a:pt x="5500515" y="1075316"/>
                    <a:pt x="5501871" y="1114848"/>
                    <a:pt x="5503422" y="1145079"/>
                  </a:cubicBezTo>
                  <a:lnTo>
                    <a:pt x="5444123" y="1149730"/>
                  </a:lnTo>
                  <a:lnTo>
                    <a:pt x="5253437" y="1145079"/>
                  </a:lnTo>
                  <a:lnTo>
                    <a:pt x="5129026" y="1135777"/>
                  </a:lnTo>
                  <a:cubicBezTo>
                    <a:pt x="5125150" y="1128801"/>
                    <a:pt x="5122825" y="1119499"/>
                    <a:pt x="5122050" y="1107872"/>
                  </a:cubicBezTo>
                  <a:lnTo>
                    <a:pt x="4987174" y="588136"/>
                  </a:lnTo>
                  <a:cubicBezTo>
                    <a:pt x="4987174" y="620693"/>
                    <a:pt x="4987174" y="656156"/>
                    <a:pt x="4987174" y="694525"/>
                  </a:cubicBezTo>
                  <a:cubicBezTo>
                    <a:pt x="4987174" y="732895"/>
                    <a:pt x="4986787" y="774947"/>
                    <a:pt x="4986012" y="820680"/>
                  </a:cubicBezTo>
                  <a:lnTo>
                    <a:pt x="4983686" y="1163683"/>
                  </a:lnTo>
                  <a:lnTo>
                    <a:pt x="4889506" y="1160195"/>
                  </a:lnTo>
                  <a:cubicBezTo>
                    <a:pt x="4864701" y="1158644"/>
                    <a:pt x="4842609" y="1157482"/>
                    <a:pt x="4823231" y="1156706"/>
                  </a:cubicBezTo>
                  <a:cubicBezTo>
                    <a:pt x="4803852" y="1155931"/>
                    <a:pt x="4787574" y="1155544"/>
                    <a:pt x="4774397" y="1155544"/>
                  </a:cubicBezTo>
                  <a:lnTo>
                    <a:pt x="4743003" y="1155544"/>
                  </a:lnTo>
                  <a:cubicBezTo>
                    <a:pt x="4730601" y="1155544"/>
                    <a:pt x="4724400" y="1154381"/>
                    <a:pt x="4724400" y="1152056"/>
                  </a:cubicBezTo>
                  <a:lnTo>
                    <a:pt x="4724400" y="1150893"/>
                  </a:lnTo>
                  <a:cubicBezTo>
                    <a:pt x="4724400" y="581935"/>
                    <a:pt x="4727501" y="294356"/>
                    <a:pt x="4733702" y="288155"/>
                  </a:cubicBezTo>
                  <a:cubicBezTo>
                    <a:pt x="4734477" y="287379"/>
                    <a:pt x="4736802" y="286992"/>
                    <a:pt x="4740678" y="286992"/>
                  </a:cubicBezTo>
                  <a:close/>
                  <a:moveTo>
                    <a:pt x="749926" y="281178"/>
                  </a:moveTo>
                  <a:cubicBezTo>
                    <a:pt x="763104" y="281178"/>
                    <a:pt x="784033" y="281953"/>
                    <a:pt x="812713" y="283504"/>
                  </a:cubicBezTo>
                  <a:cubicBezTo>
                    <a:pt x="841393" y="285054"/>
                    <a:pt x="878213" y="287379"/>
                    <a:pt x="923172" y="290480"/>
                  </a:cubicBezTo>
                  <a:lnTo>
                    <a:pt x="1006887" y="297456"/>
                  </a:lnTo>
                  <a:lnTo>
                    <a:pt x="1004562" y="617204"/>
                  </a:lnTo>
                  <a:lnTo>
                    <a:pt x="1079575" y="612554"/>
                  </a:lnTo>
                  <a:cubicBezTo>
                    <a:pt x="1083488" y="611778"/>
                    <a:pt x="1088959" y="611000"/>
                    <a:pt x="1095990" y="610219"/>
                  </a:cubicBezTo>
                  <a:cubicBezTo>
                    <a:pt x="1103021" y="609438"/>
                    <a:pt x="1110836" y="608272"/>
                    <a:pt x="1119435" y="606722"/>
                  </a:cubicBezTo>
                  <a:lnTo>
                    <a:pt x="1148739" y="602053"/>
                  </a:lnTo>
                  <a:lnTo>
                    <a:pt x="1148739" y="318385"/>
                  </a:lnTo>
                  <a:lnTo>
                    <a:pt x="1165017" y="318385"/>
                  </a:lnTo>
                  <a:cubicBezTo>
                    <a:pt x="1193698" y="318385"/>
                    <a:pt x="1235556" y="314897"/>
                    <a:pt x="1290591" y="307921"/>
                  </a:cubicBezTo>
                  <a:cubicBezTo>
                    <a:pt x="1344076" y="302495"/>
                    <a:pt x="1384384" y="299007"/>
                    <a:pt x="1411514" y="297456"/>
                  </a:cubicBezTo>
                  <a:lnTo>
                    <a:pt x="1408026" y="604414"/>
                  </a:lnTo>
                  <a:cubicBezTo>
                    <a:pt x="1408026" y="680379"/>
                    <a:pt x="1408026" y="739096"/>
                    <a:pt x="1408026" y="780567"/>
                  </a:cubicBezTo>
                  <a:cubicBezTo>
                    <a:pt x="1408026" y="822037"/>
                    <a:pt x="1408413" y="846648"/>
                    <a:pt x="1409188" y="854399"/>
                  </a:cubicBezTo>
                  <a:lnTo>
                    <a:pt x="1419653" y="1160195"/>
                  </a:lnTo>
                  <a:lnTo>
                    <a:pt x="1142962" y="1163683"/>
                  </a:lnTo>
                  <a:cubicBezTo>
                    <a:pt x="1138287" y="1159032"/>
                    <a:pt x="1135949" y="1145467"/>
                    <a:pt x="1135949" y="1122988"/>
                  </a:cubicBezTo>
                  <a:lnTo>
                    <a:pt x="1146414" y="799751"/>
                  </a:lnTo>
                  <a:lnTo>
                    <a:pt x="1006887" y="806728"/>
                  </a:lnTo>
                  <a:lnTo>
                    <a:pt x="1022003" y="1141591"/>
                  </a:lnTo>
                  <a:lnTo>
                    <a:pt x="745275" y="1145079"/>
                  </a:lnTo>
                  <a:cubicBezTo>
                    <a:pt x="740624" y="1140428"/>
                    <a:pt x="738299" y="1126088"/>
                    <a:pt x="738299" y="1102059"/>
                  </a:cubicBezTo>
                  <a:lnTo>
                    <a:pt x="747601" y="831145"/>
                  </a:lnTo>
                  <a:cubicBezTo>
                    <a:pt x="748376" y="777660"/>
                    <a:pt x="748957" y="729213"/>
                    <a:pt x="749345" y="685805"/>
                  </a:cubicBezTo>
                  <a:cubicBezTo>
                    <a:pt x="749732" y="642397"/>
                    <a:pt x="749926" y="603252"/>
                    <a:pt x="749926" y="568370"/>
                  </a:cubicBezTo>
                  <a:close/>
                  <a:moveTo>
                    <a:pt x="642984" y="280016"/>
                  </a:moveTo>
                  <a:lnTo>
                    <a:pt x="660425" y="281178"/>
                  </a:lnTo>
                  <a:cubicBezTo>
                    <a:pt x="659650" y="285054"/>
                    <a:pt x="659262" y="290868"/>
                    <a:pt x="659262" y="298619"/>
                  </a:cubicBezTo>
                  <a:cubicBezTo>
                    <a:pt x="659262" y="306371"/>
                    <a:pt x="659262" y="316447"/>
                    <a:pt x="659262" y="328850"/>
                  </a:cubicBezTo>
                  <a:lnTo>
                    <a:pt x="663913" y="516048"/>
                  </a:lnTo>
                  <a:cubicBezTo>
                    <a:pt x="663913" y="586586"/>
                    <a:pt x="644922" y="634645"/>
                    <a:pt x="606940" y="660225"/>
                  </a:cubicBezTo>
                  <a:cubicBezTo>
                    <a:pt x="601513" y="664101"/>
                    <a:pt x="595506" y="667395"/>
                    <a:pt x="588918" y="670108"/>
                  </a:cubicBezTo>
                  <a:cubicBezTo>
                    <a:pt x="582329" y="672821"/>
                    <a:pt x="575159" y="674953"/>
                    <a:pt x="567407" y="676503"/>
                  </a:cubicBezTo>
                  <a:cubicBezTo>
                    <a:pt x="555780" y="678829"/>
                    <a:pt x="549966" y="680379"/>
                    <a:pt x="549966" y="681154"/>
                  </a:cubicBezTo>
                  <a:cubicBezTo>
                    <a:pt x="579931" y="691231"/>
                    <a:pt x="608357" y="715648"/>
                    <a:pt x="635245" y="754405"/>
                  </a:cubicBezTo>
                  <a:cubicBezTo>
                    <a:pt x="665984" y="797814"/>
                    <a:pt x="681354" y="875328"/>
                    <a:pt x="681354" y="986949"/>
                  </a:cubicBezTo>
                  <a:lnTo>
                    <a:pt x="680191" y="1047411"/>
                  </a:lnTo>
                  <a:cubicBezTo>
                    <a:pt x="680191" y="1076866"/>
                    <a:pt x="681354" y="1104772"/>
                    <a:pt x="683679" y="1131127"/>
                  </a:cubicBezTo>
                  <a:cubicBezTo>
                    <a:pt x="684454" y="1144304"/>
                    <a:pt x="685036" y="1153800"/>
                    <a:pt x="685423" y="1159613"/>
                  </a:cubicBezTo>
                  <a:lnTo>
                    <a:pt x="685849" y="1165156"/>
                  </a:lnTo>
                  <a:lnTo>
                    <a:pt x="684842" y="1167171"/>
                  </a:lnTo>
                  <a:cubicBezTo>
                    <a:pt x="684067" y="1170271"/>
                    <a:pt x="665160" y="1171822"/>
                    <a:pt x="628123" y="1171822"/>
                  </a:cubicBezTo>
                  <a:cubicBezTo>
                    <a:pt x="606516" y="1171822"/>
                    <a:pt x="589151" y="1171822"/>
                    <a:pt x="576027" y="1171822"/>
                  </a:cubicBezTo>
                  <a:cubicBezTo>
                    <a:pt x="562905" y="1171822"/>
                    <a:pt x="553261" y="1172209"/>
                    <a:pt x="547096" y="1172984"/>
                  </a:cubicBezTo>
                  <a:cubicBezTo>
                    <a:pt x="534742" y="1172984"/>
                    <a:pt x="523935" y="1172984"/>
                    <a:pt x="514676" y="1172984"/>
                  </a:cubicBezTo>
                  <a:cubicBezTo>
                    <a:pt x="505417" y="1172984"/>
                    <a:pt x="497699" y="1173372"/>
                    <a:pt x="491522" y="1174147"/>
                  </a:cubicBezTo>
                  <a:cubicBezTo>
                    <a:pt x="487670" y="1174922"/>
                    <a:pt x="483234" y="1175310"/>
                    <a:pt x="478214" y="1175310"/>
                  </a:cubicBezTo>
                  <a:cubicBezTo>
                    <a:pt x="473193" y="1175310"/>
                    <a:pt x="466826" y="1175310"/>
                    <a:pt x="459111" y="1175310"/>
                  </a:cubicBezTo>
                  <a:lnTo>
                    <a:pt x="419742" y="1176473"/>
                  </a:lnTo>
                  <a:lnTo>
                    <a:pt x="423230" y="1048573"/>
                  </a:lnTo>
                  <a:cubicBezTo>
                    <a:pt x="423230" y="1003615"/>
                    <a:pt x="419742" y="959432"/>
                    <a:pt x="412766" y="916023"/>
                  </a:cubicBezTo>
                  <a:cubicBezTo>
                    <a:pt x="405789" y="874165"/>
                    <a:pt x="396487" y="846260"/>
                    <a:pt x="384860" y="832308"/>
                  </a:cubicBezTo>
                  <a:cubicBezTo>
                    <a:pt x="367807" y="810603"/>
                    <a:pt x="344940" y="799751"/>
                    <a:pt x="316260" y="799751"/>
                  </a:cubicBezTo>
                  <a:lnTo>
                    <a:pt x="297656" y="802077"/>
                  </a:lnTo>
                  <a:cubicBezTo>
                    <a:pt x="288354" y="805953"/>
                    <a:pt x="283704" y="821843"/>
                    <a:pt x="283704" y="849748"/>
                  </a:cubicBezTo>
                  <a:cubicBezTo>
                    <a:pt x="283704" y="891606"/>
                    <a:pt x="284866" y="940828"/>
                    <a:pt x="287192" y="997414"/>
                  </a:cubicBezTo>
                  <a:lnTo>
                    <a:pt x="293005" y="1145079"/>
                  </a:lnTo>
                  <a:lnTo>
                    <a:pt x="0" y="1156706"/>
                  </a:lnTo>
                  <a:lnTo>
                    <a:pt x="3488" y="293968"/>
                  </a:lnTo>
                  <a:cubicBezTo>
                    <a:pt x="3488" y="290093"/>
                    <a:pt x="59299" y="288155"/>
                    <a:pt x="170920" y="288155"/>
                  </a:cubicBezTo>
                  <a:lnTo>
                    <a:pt x="260449" y="290480"/>
                  </a:lnTo>
                  <a:lnTo>
                    <a:pt x="277890" y="605577"/>
                  </a:lnTo>
                  <a:cubicBezTo>
                    <a:pt x="283316" y="607903"/>
                    <a:pt x="289129" y="609065"/>
                    <a:pt x="295331" y="609065"/>
                  </a:cubicBezTo>
                  <a:cubicBezTo>
                    <a:pt x="365094" y="609065"/>
                    <a:pt x="399976" y="562944"/>
                    <a:pt x="399976" y="470702"/>
                  </a:cubicBezTo>
                  <a:lnTo>
                    <a:pt x="397650" y="288155"/>
                  </a:lnTo>
                  <a:lnTo>
                    <a:pt x="426718" y="288155"/>
                  </a:lnTo>
                  <a:cubicBezTo>
                    <a:pt x="440671" y="288155"/>
                    <a:pt x="456949" y="287767"/>
                    <a:pt x="475552" y="286992"/>
                  </a:cubicBezTo>
                  <a:cubicBezTo>
                    <a:pt x="494156" y="286217"/>
                    <a:pt x="515085" y="285054"/>
                    <a:pt x="538339" y="283504"/>
                  </a:cubicBezTo>
                  <a:cubicBezTo>
                    <a:pt x="590274" y="281178"/>
                    <a:pt x="625156" y="280016"/>
                    <a:pt x="642984" y="280016"/>
                  </a:cubicBezTo>
                  <a:close/>
                  <a:moveTo>
                    <a:pt x="4316406" y="270714"/>
                  </a:moveTo>
                  <a:cubicBezTo>
                    <a:pt x="4358264" y="270714"/>
                    <a:pt x="4398959" y="276527"/>
                    <a:pt x="4438492" y="288155"/>
                  </a:cubicBezTo>
                  <a:cubicBezTo>
                    <a:pt x="4511355" y="312184"/>
                    <a:pt x="4568329" y="362569"/>
                    <a:pt x="4609411" y="439308"/>
                  </a:cubicBezTo>
                  <a:cubicBezTo>
                    <a:pt x="4650494" y="517598"/>
                    <a:pt x="4671036" y="604414"/>
                    <a:pt x="4671036" y="699758"/>
                  </a:cubicBezTo>
                  <a:cubicBezTo>
                    <a:pt x="4671036" y="829207"/>
                    <a:pt x="4637317" y="938503"/>
                    <a:pt x="4569879" y="1027644"/>
                  </a:cubicBezTo>
                  <a:cubicBezTo>
                    <a:pt x="4491589" y="1129964"/>
                    <a:pt x="4385782" y="1181123"/>
                    <a:pt x="4252456" y="1181123"/>
                  </a:cubicBezTo>
                  <a:cubicBezTo>
                    <a:pt x="4136960" y="1181123"/>
                    <a:pt x="4046268" y="1147405"/>
                    <a:pt x="3980380" y="1079967"/>
                  </a:cubicBezTo>
                  <a:cubicBezTo>
                    <a:pt x="3913717" y="1011754"/>
                    <a:pt x="3878836" y="916411"/>
                    <a:pt x="3875735" y="793938"/>
                  </a:cubicBezTo>
                  <a:cubicBezTo>
                    <a:pt x="3874960" y="790062"/>
                    <a:pt x="3874572" y="778435"/>
                    <a:pt x="3874572" y="759056"/>
                  </a:cubicBezTo>
                  <a:cubicBezTo>
                    <a:pt x="3874572" y="609453"/>
                    <a:pt x="3909454" y="494344"/>
                    <a:pt x="3979217" y="413728"/>
                  </a:cubicBezTo>
                  <a:cubicBezTo>
                    <a:pt x="4009448" y="378072"/>
                    <a:pt x="4044717" y="349391"/>
                    <a:pt x="4085025" y="327687"/>
                  </a:cubicBezTo>
                  <a:cubicBezTo>
                    <a:pt x="4153238" y="289705"/>
                    <a:pt x="4230365" y="270714"/>
                    <a:pt x="4316406" y="270714"/>
                  </a:cubicBezTo>
                  <a:close/>
                  <a:moveTo>
                    <a:pt x="5986053" y="261412"/>
                  </a:moveTo>
                  <a:lnTo>
                    <a:pt x="5988378" y="261412"/>
                  </a:lnTo>
                  <a:cubicBezTo>
                    <a:pt x="5996905" y="261412"/>
                    <a:pt x="6007951" y="262187"/>
                    <a:pt x="6021516" y="263738"/>
                  </a:cubicBezTo>
                  <a:cubicBezTo>
                    <a:pt x="6035081" y="265288"/>
                    <a:pt x="6050778" y="267613"/>
                    <a:pt x="6068606" y="270714"/>
                  </a:cubicBezTo>
                  <a:cubicBezTo>
                    <a:pt x="6078683" y="272264"/>
                    <a:pt x="6089341" y="274783"/>
                    <a:pt x="6100581" y="278272"/>
                  </a:cubicBezTo>
                  <a:cubicBezTo>
                    <a:pt x="6111821" y="281760"/>
                    <a:pt x="6123642" y="286604"/>
                    <a:pt x="6136044" y="292806"/>
                  </a:cubicBezTo>
                  <a:cubicBezTo>
                    <a:pt x="6229061" y="337764"/>
                    <a:pt x="6281772" y="410240"/>
                    <a:pt x="6294174" y="510234"/>
                  </a:cubicBezTo>
                  <a:cubicBezTo>
                    <a:pt x="6297274" y="528838"/>
                    <a:pt x="6299406" y="544728"/>
                    <a:pt x="6300568" y="557906"/>
                  </a:cubicBezTo>
                  <a:cubicBezTo>
                    <a:pt x="6301731" y="571083"/>
                    <a:pt x="6302312" y="581935"/>
                    <a:pt x="6302312" y="590462"/>
                  </a:cubicBezTo>
                  <a:lnTo>
                    <a:pt x="6203482" y="599764"/>
                  </a:lnTo>
                  <a:lnTo>
                    <a:pt x="6050003" y="611391"/>
                  </a:lnTo>
                  <a:lnTo>
                    <a:pt x="6050003" y="592787"/>
                  </a:lnTo>
                  <a:cubicBezTo>
                    <a:pt x="6050003" y="573409"/>
                    <a:pt x="6041864" y="557131"/>
                    <a:pt x="6025585" y="543953"/>
                  </a:cubicBezTo>
                  <a:cubicBezTo>
                    <a:pt x="6008532" y="530776"/>
                    <a:pt x="5989154" y="524187"/>
                    <a:pt x="5967449" y="524187"/>
                  </a:cubicBezTo>
                  <a:cubicBezTo>
                    <a:pt x="5922491" y="524187"/>
                    <a:pt x="5886447" y="549379"/>
                    <a:pt x="5859317" y="599764"/>
                  </a:cubicBezTo>
                  <a:cubicBezTo>
                    <a:pt x="5835287" y="647823"/>
                    <a:pt x="5823272" y="701308"/>
                    <a:pt x="5823272" y="760219"/>
                  </a:cubicBezTo>
                  <a:cubicBezTo>
                    <a:pt x="5823272" y="840059"/>
                    <a:pt x="5842263" y="891606"/>
                    <a:pt x="5880245" y="914861"/>
                  </a:cubicBezTo>
                  <a:cubicBezTo>
                    <a:pt x="5897299" y="924938"/>
                    <a:pt x="5915515" y="929976"/>
                    <a:pt x="5934893" y="929976"/>
                  </a:cubicBezTo>
                  <a:cubicBezTo>
                    <a:pt x="5958148" y="929976"/>
                    <a:pt x="5978689" y="923000"/>
                    <a:pt x="5996517" y="909047"/>
                  </a:cubicBezTo>
                  <a:cubicBezTo>
                    <a:pt x="6013571" y="894319"/>
                    <a:pt x="6022097" y="876491"/>
                    <a:pt x="6022097" y="855562"/>
                  </a:cubicBezTo>
                  <a:lnTo>
                    <a:pt x="5939544" y="852074"/>
                  </a:lnTo>
                  <a:lnTo>
                    <a:pt x="5939544" y="790450"/>
                  </a:lnTo>
                  <a:cubicBezTo>
                    <a:pt x="5939544" y="749367"/>
                    <a:pt x="5942257" y="727275"/>
                    <a:pt x="5947683" y="724175"/>
                  </a:cubicBezTo>
                  <a:cubicBezTo>
                    <a:pt x="5952334" y="721074"/>
                    <a:pt x="6008920" y="718749"/>
                    <a:pt x="6117440" y="717198"/>
                  </a:cubicBezTo>
                  <a:lnTo>
                    <a:pt x="6281384" y="716036"/>
                  </a:lnTo>
                  <a:lnTo>
                    <a:pt x="6284872" y="748592"/>
                  </a:lnTo>
                  <a:lnTo>
                    <a:pt x="6284872" y="764870"/>
                  </a:lnTo>
                  <a:cubicBezTo>
                    <a:pt x="6284872" y="792775"/>
                    <a:pt x="6281384" y="826882"/>
                    <a:pt x="6274407" y="867189"/>
                  </a:cubicBezTo>
                  <a:cubicBezTo>
                    <a:pt x="6267431" y="909047"/>
                    <a:pt x="6259292" y="943541"/>
                    <a:pt x="6249990" y="970671"/>
                  </a:cubicBezTo>
                  <a:cubicBezTo>
                    <a:pt x="6228286" y="1032683"/>
                    <a:pt x="6187591" y="1080742"/>
                    <a:pt x="6127905" y="1114848"/>
                  </a:cubicBezTo>
                  <a:cubicBezTo>
                    <a:pt x="6068219" y="1149730"/>
                    <a:pt x="6001944" y="1167171"/>
                    <a:pt x="5929080" y="1167171"/>
                  </a:cubicBezTo>
                  <a:cubicBezTo>
                    <a:pt x="5840713" y="1167171"/>
                    <a:pt x="5762424" y="1141591"/>
                    <a:pt x="5694210" y="1090431"/>
                  </a:cubicBezTo>
                  <a:cubicBezTo>
                    <a:pt x="5624447" y="1038497"/>
                    <a:pt x="5582202" y="964470"/>
                    <a:pt x="5567474" y="868352"/>
                  </a:cubicBezTo>
                  <a:cubicBezTo>
                    <a:pt x="5565924" y="852074"/>
                    <a:pt x="5564567" y="836958"/>
                    <a:pt x="5563404" y="823006"/>
                  </a:cubicBezTo>
                  <a:cubicBezTo>
                    <a:pt x="5562242" y="809053"/>
                    <a:pt x="5561660" y="796651"/>
                    <a:pt x="5561660" y="785799"/>
                  </a:cubicBezTo>
                  <a:cubicBezTo>
                    <a:pt x="5561660" y="664876"/>
                    <a:pt x="5582589" y="562944"/>
                    <a:pt x="5624447" y="480003"/>
                  </a:cubicBezTo>
                  <a:cubicBezTo>
                    <a:pt x="5663980" y="402489"/>
                    <a:pt x="5718627" y="345515"/>
                    <a:pt x="5788391" y="309084"/>
                  </a:cubicBezTo>
                  <a:cubicBezTo>
                    <a:pt x="5800793" y="302882"/>
                    <a:pt x="5814358" y="297069"/>
                    <a:pt x="5829086" y="291643"/>
                  </a:cubicBezTo>
                  <a:cubicBezTo>
                    <a:pt x="5843814" y="286217"/>
                    <a:pt x="5859704" y="281178"/>
                    <a:pt x="5876757" y="276527"/>
                  </a:cubicBezTo>
                  <a:cubicBezTo>
                    <a:pt x="5917840" y="266451"/>
                    <a:pt x="5954272" y="261412"/>
                    <a:pt x="5986053" y="261412"/>
                  </a:cubicBezTo>
                  <a:close/>
                  <a:moveTo>
                    <a:pt x="2195159" y="191649"/>
                  </a:moveTo>
                  <a:lnTo>
                    <a:pt x="2219576" y="205602"/>
                  </a:lnTo>
                  <a:cubicBezTo>
                    <a:pt x="2300191" y="253661"/>
                    <a:pt x="2322670" y="312184"/>
                    <a:pt x="2287014" y="381172"/>
                  </a:cubicBezTo>
                  <a:lnTo>
                    <a:pt x="2284688" y="385823"/>
                  </a:lnTo>
                  <a:cubicBezTo>
                    <a:pt x="2268410" y="416054"/>
                    <a:pt x="2244381" y="436595"/>
                    <a:pt x="2212600" y="447447"/>
                  </a:cubicBezTo>
                  <a:cubicBezTo>
                    <a:pt x="2251357" y="523412"/>
                    <a:pt x="2270736" y="607515"/>
                    <a:pt x="2270736" y="699758"/>
                  </a:cubicBezTo>
                  <a:cubicBezTo>
                    <a:pt x="2270736" y="829207"/>
                    <a:pt x="2237017" y="938503"/>
                    <a:pt x="2169579" y="1027644"/>
                  </a:cubicBezTo>
                  <a:cubicBezTo>
                    <a:pt x="2091289" y="1129964"/>
                    <a:pt x="1985482" y="1181123"/>
                    <a:pt x="1852157" y="1181123"/>
                  </a:cubicBezTo>
                  <a:cubicBezTo>
                    <a:pt x="1736660" y="1181123"/>
                    <a:pt x="1645968" y="1147405"/>
                    <a:pt x="1580080" y="1079967"/>
                  </a:cubicBezTo>
                  <a:cubicBezTo>
                    <a:pt x="1513418" y="1011754"/>
                    <a:pt x="1478536" y="916411"/>
                    <a:pt x="1475436" y="793938"/>
                  </a:cubicBezTo>
                  <a:cubicBezTo>
                    <a:pt x="1474660" y="790062"/>
                    <a:pt x="1474273" y="778435"/>
                    <a:pt x="1474273" y="759056"/>
                  </a:cubicBezTo>
                  <a:cubicBezTo>
                    <a:pt x="1474273" y="609453"/>
                    <a:pt x="1509154" y="494344"/>
                    <a:pt x="1578918" y="413728"/>
                  </a:cubicBezTo>
                  <a:cubicBezTo>
                    <a:pt x="1609148" y="378072"/>
                    <a:pt x="1644417" y="349391"/>
                    <a:pt x="1684725" y="327687"/>
                  </a:cubicBezTo>
                  <a:cubicBezTo>
                    <a:pt x="1752938" y="289705"/>
                    <a:pt x="1830065" y="270714"/>
                    <a:pt x="1916106" y="270714"/>
                  </a:cubicBezTo>
                  <a:cubicBezTo>
                    <a:pt x="1957964" y="270714"/>
                    <a:pt x="1998659" y="276527"/>
                    <a:pt x="2038192" y="288155"/>
                  </a:cubicBezTo>
                  <a:cubicBezTo>
                    <a:pt x="2090902" y="305983"/>
                    <a:pt x="2134310" y="335826"/>
                    <a:pt x="2168416" y="377684"/>
                  </a:cubicBezTo>
                  <a:cubicBezTo>
                    <a:pt x="2185470" y="380785"/>
                    <a:pt x="2199034" y="374583"/>
                    <a:pt x="2209112" y="359081"/>
                  </a:cubicBezTo>
                  <a:lnTo>
                    <a:pt x="2210274" y="357918"/>
                  </a:lnTo>
                  <a:cubicBezTo>
                    <a:pt x="2218026" y="340865"/>
                    <a:pt x="2215700" y="324587"/>
                    <a:pt x="2203298" y="309084"/>
                  </a:cubicBezTo>
                  <a:cubicBezTo>
                    <a:pt x="2192446" y="297456"/>
                    <a:pt x="2175393" y="285442"/>
                    <a:pt x="2152138" y="273039"/>
                  </a:cubicBezTo>
                  <a:close/>
                  <a:moveTo>
                    <a:pt x="4176880" y="73051"/>
                  </a:moveTo>
                  <a:lnTo>
                    <a:pt x="4286175" y="76540"/>
                  </a:lnTo>
                  <a:lnTo>
                    <a:pt x="4401285" y="73051"/>
                  </a:lnTo>
                  <a:cubicBezTo>
                    <a:pt x="4404385" y="79277"/>
                    <a:pt x="4409424" y="89027"/>
                    <a:pt x="4416400" y="102301"/>
                  </a:cubicBezTo>
                  <a:cubicBezTo>
                    <a:pt x="4423376" y="115576"/>
                    <a:pt x="4433066" y="132356"/>
                    <a:pt x="4445468" y="152643"/>
                  </a:cubicBezTo>
                  <a:cubicBezTo>
                    <a:pt x="4466397" y="188554"/>
                    <a:pt x="4480737" y="215097"/>
                    <a:pt x="4488489" y="232271"/>
                  </a:cubicBezTo>
                  <a:lnTo>
                    <a:pt x="4486163" y="232271"/>
                  </a:lnTo>
                  <a:cubicBezTo>
                    <a:pt x="4479187" y="232271"/>
                    <a:pt x="4461359" y="234609"/>
                    <a:pt x="4432678" y="239284"/>
                  </a:cubicBezTo>
                  <a:cubicBezTo>
                    <a:pt x="4419501" y="240834"/>
                    <a:pt x="4405161" y="242391"/>
                    <a:pt x="4389657" y="243953"/>
                  </a:cubicBezTo>
                  <a:cubicBezTo>
                    <a:pt x="4374155" y="245516"/>
                    <a:pt x="4357876" y="246684"/>
                    <a:pt x="4340823" y="247459"/>
                  </a:cubicBezTo>
                  <a:cubicBezTo>
                    <a:pt x="4332297" y="234972"/>
                    <a:pt x="4323576" y="221316"/>
                    <a:pt x="4314662" y="206492"/>
                  </a:cubicBezTo>
                  <a:cubicBezTo>
                    <a:pt x="4305748" y="191667"/>
                    <a:pt x="4296640" y="175280"/>
                    <a:pt x="4287338" y="157330"/>
                  </a:cubicBezTo>
                  <a:lnTo>
                    <a:pt x="4226877" y="247459"/>
                  </a:lnTo>
                  <a:cubicBezTo>
                    <a:pt x="4214474" y="246684"/>
                    <a:pt x="4200522" y="246103"/>
                    <a:pt x="4185019" y="245715"/>
                  </a:cubicBezTo>
                  <a:cubicBezTo>
                    <a:pt x="4169516" y="245328"/>
                    <a:pt x="4152850" y="244746"/>
                    <a:pt x="4135022" y="243971"/>
                  </a:cubicBezTo>
                  <a:lnTo>
                    <a:pt x="4057120" y="241628"/>
                  </a:lnTo>
                  <a:cubicBezTo>
                    <a:pt x="4065646" y="228353"/>
                    <a:pt x="4075336" y="214107"/>
                    <a:pt x="4086188" y="198889"/>
                  </a:cubicBezTo>
                  <a:cubicBezTo>
                    <a:pt x="4097040" y="183670"/>
                    <a:pt x="4108667" y="168255"/>
                    <a:pt x="4121069" y="152643"/>
                  </a:cubicBezTo>
                  <a:cubicBezTo>
                    <a:pt x="4148974" y="115182"/>
                    <a:pt x="4167578" y="88651"/>
                    <a:pt x="4176880" y="73051"/>
                  </a:cubicBezTo>
                  <a:close/>
                  <a:moveTo>
                    <a:pt x="1966975" y="91"/>
                  </a:moveTo>
                  <a:cubicBezTo>
                    <a:pt x="1981897" y="-491"/>
                    <a:pt x="1995946" y="1738"/>
                    <a:pt x="2009124" y="6776"/>
                  </a:cubicBezTo>
                  <a:cubicBezTo>
                    <a:pt x="2033929" y="17628"/>
                    <a:pt x="2050982" y="35069"/>
                    <a:pt x="2060283" y="59099"/>
                  </a:cubicBezTo>
                  <a:cubicBezTo>
                    <a:pt x="2071911" y="87779"/>
                    <a:pt x="2069973" y="116847"/>
                    <a:pt x="2054470" y="146303"/>
                  </a:cubicBezTo>
                  <a:cubicBezTo>
                    <a:pt x="2037417" y="178859"/>
                    <a:pt x="2006798" y="204051"/>
                    <a:pt x="1962615" y="221880"/>
                  </a:cubicBezTo>
                  <a:lnTo>
                    <a:pt x="1921920" y="233507"/>
                  </a:lnTo>
                  <a:lnTo>
                    <a:pt x="1909130" y="203276"/>
                  </a:lnTo>
                  <a:cubicBezTo>
                    <a:pt x="1913781" y="202501"/>
                    <a:pt x="1921532" y="198044"/>
                    <a:pt x="1932384" y="189905"/>
                  </a:cubicBezTo>
                  <a:cubicBezTo>
                    <a:pt x="1943237" y="181766"/>
                    <a:pt x="1953701" y="171495"/>
                    <a:pt x="1963778" y="159093"/>
                  </a:cubicBezTo>
                  <a:cubicBezTo>
                    <a:pt x="1977730" y="141264"/>
                    <a:pt x="1980443" y="122273"/>
                    <a:pt x="1971917" y="102119"/>
                  </a:cubicBezTo>
                  <a:cubicBezTo>
                    <a:pt x="1964165" y="88167"/>
                    <a:pt x="1952732" y="80803"/>
                    <a:pt x="1937617" y="80028"/>
                  </a:cubicBezTo>
                  <a:cubicBezTo>
                    <a:pt x="1922501" y="79253"/>
                    <a:pt x="1909518" y="86229"/>
                    <a:pt x="1898666" y="100957"/>
                  </a:cubicBezTo>
                  <a:lnTo>
                    <a:pt x="1838204" y="64912"/>
                  </a:lnTo>
                  <a:cubicBezTo>
                    <a:pt x="1869985" y="37007"/>
                    <a:pt x="1897115" y="18791"/>
                    <a:pt x="1919594" y="10265"/>
                  </a:cubicBezTo>
                  <a:cubicBezTo>
                    <a:pt x="1936260" y="4063"/>
                    <a:pt x="1952053" y="672"/>
                    <a:pt x="1966975" y="91"/>
                  </a:cubicBezTo>
                  <a:close/>
                </a:path>
              </a:pathLst>
            </a:custGeom>
            <a:solidFill>
              <a:schemeClr val="bg1"/>
            </a:solidFill>
            <a:ln w="254000">
              <a:solidFill>
                <a:schemeClr val="accent6">
                  <a:lumMod val="75000"/>
                </a:schemeClr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00" b="0" i="0" u="none" strike="noStrike" kern="1200" cap="none" spc="300" normalizeH="0" baseline="0" noProof="0">
                <a:ln w="254000">
                  <a:solidFill>
                    <a:srgbClr val="ED5565">
                      <a:lumMod val="7500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#9Slide07 Crocante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7FB755D-B4B6-2682-721B-A4E07A07093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245128" y="1721946"/>
              <a:ext cx="6302312" cy="1417156"/>
            </a:xfrm>
            <a:custGeom>
              <a:avLst/>
              <a:gdLst/>
              <a:ahLst/>
              <a:cxnLst/>
              <a:rect l="l" t="t" r="r" b="b"/>
              <a:pathLst>
                <a:path w="6302312" h="1417156">
                  <a:moveTo>
                    <a:pt x="4280362" y="1229958"/>
                  </a:moveTo>
                  <a:cubicBezTo>
                    <a:pt x="4339273" y="1229958"/>
                    <a:pt x="4368728" y="1262126"/>
                    <a:pt x="4368728" y="1326463"/>
                  </a:cubicBezTo>
                  <a:cubicBezTo>
                    <a:pt x="4368728" y="1386925"/>
                    <a:pt x="4338885" y="1417156"/>
                    <a:pt x="4279199" y="1417156"/>
                  </a:cubicBezTo>
                  <a:cubicBezTo>
                    <a:pt x="4252844" y="1417156"/>
                    <a:pt x="4230753" y="1409404"/>
                    <a:pt x="4212924" y="1393901"/>
                  </a:cubicBezTo>
                  <a:cubicBezTo>
                    <a:pt x="4194320" y="1377623"/>
                    <a:pt x="4185019" y="1354756"/>
                    <a:pt x="4185019" y="1325301"/>
                  </a:cubicBezTo>
                  <a:cubicBezTo>
                    <a:pt x="4185019" y="1261739"/>
                    <a:pt x="4216800" y="1229958"/>
                    <a:pt x="4280362" y="1229958"/>
                  </a:cubicBezTo>
                  <a:close/>
                  <a:moveTo>
                    <a:pt x="686004" y="1164845"/>
                  </a:moveTo>
                  <a:cubicBezTo>
                    <a:pt x="686004" y="1166008"/>
                    <a:pt x="685956" y="1166153"/>
                    <a:pt x="685859" y="1165281"/>
                  </a:cubicBezTo>
                  <a:lnTo>
                    <a:pt x="685849" y="1165156"/>
                  </a:lnTo>
                  <a:close/>
                  <a:moveTo>
                    <a:pt x="3443724" y="554418"/>
                  </a:moveTo>
                  <a:lnTo>
                    <a:pt x="3403029" y="556743"/>
                  </a:lnTo>
                  <a:lnTo>
                    <a:pt x="3403029" y="638133"/>
                  </a:lnTo>
                  <a:lnTo>
                    <a:pt x="3499535" y="635808"/>
                  </a:lnTo>
                  <a:lnTo>
                    <a:pt x="3487908" y="831145"/>
                  </a:lnTo>
                  <a:cubicBezTo>
                    <a:pt x="3468529" y="830370"/>
                    <a:pt x="3452251" y="829788"/>
                    <a:pt x="3439073" y="829401"/>
                  </a:cubicBezTo>
                  <a:cubicBezTo>
                    <a:pt x="3425896" y="829013"/>
                    <a:pt x="3415432" y="828819"/>
                    <a:pt x="3407680" y="828819"/>
                  </a:cubicBezTo>
                  <a:lnTo>
                    <a:pt x="3410005" y="889281"/>
                  </a:lnTo>
                  <a:lnTo>
                    <a:pt x="3434423" y="889281"/>
                  </a:lnTo>
                  <a:cubicBezTo>
                    <a:pt x="3460778" y="889281"/>
                    <a:pt x="3479381" y="886955"/>
                    <a:pt x="3490233" y="882304"/>
                  </a:cubicBezTo>
                  <a:cubicBezTo>
                    <a:pt x="3500310" y="878429"/>
                    <a:pt x="3512713" y="866802"/>
                    <a:pt x="3527440" y="847423"/>
                  </a:cubicBezTo>
                  <a:cubicBezTo>
                    <a:pt x="3548369" y="818743"/>
                    <a:pt x="3558834" y="775334"/>
                    <a:pt x="3558834" y="717198"/>
                  </a:cubicBezTo>
                  <a:cubicBezTo>
                    <a:pt x="3558834" y="651311"/>
                    <a:pt x="3546819" y="605190"/>
                    <a:pt x="3522789" y="578835"/>
                  </a:cubicBezTo>
                  <a:cubicBezTo>
                    <a:pt x="3507286" y="562557"/>
                    <a:pt x="3480931" y="554418"/>
                    <a:pt x="3443724" y="554418"/>
                  </a:cubicBezTo>
                  <a:close/>
                  <a:moveTo>
                    <a:pt x="4287338" y="531163"/>
                  </a:moveTo>
                  <a:cubicBezTo>
                    <a:pt x="4265634" y="531163"/>
                    <a:pt x="4241217" y="541240"/>
                    <a:pt x="4214087" y="561394"/>
                  </a:cubicBezTo>
                  <a:cubicBezTo>
                    <a:pt x="4184631" y="586199"/>
                    <a:pt x="4169903" y="638909"/>
                    <a:pt x="4169903" y="719524"/>
                  </a:cubicBezTo>
                  <a:cubicBezTo>
                    <a:pt x="4169903" y="778435"/>
                    <a:pt x="4176880" y="823393"/>
                    <a:pt x="4190832" y="854399"/>
                  </a:cubicBezTo>
                  <a:cubicBezTo>
                    <a:pt x="4207886" y="897807"/>
                    <a:pt x="4239279" y="918736"/>
                    <a:pt x="4285013" y="917186"/>
                  </a:cubicBezTo>
                  <a:cubicBezTo>
                    <a:pt x="4330746" y="917186"/>
                    <a:pt x="4360589" y="896645"/>
                    <a:pt x="4374542" y="855562"/>
                  </a:cubicBezTo>
                  <a:cubicBezTo>
                    <a:pt x="4388495" y="812929"/>
                    <a:pt x="4395471" y="769521"/>
                    <a:pt x="4395471" y="725337"/>
                  </a:cubicBezTo>
                  <a:cubicBezTo>
                    <a:pt x="4395471" y="671077"/>
                    <a:pt x="4385782" y="624956"/>
                    <a:pt x="4366403" y="586974"/>
                  </a:cubicBezTo>
                  <a:cubicBezTo>
                    <a:pt x="4346249" y="549767"/>
                    <a:pt x="4319894" y="531163"/>
                    <a:pt x="4287338" y="531163"/>
                  </a:cubicBezTo>
                  <a:close/>
                  <a:moveTo>
                    <a:pt x="1887038" y="531163"/>
                  </a:moveTo>
                  <a:cubicBezTo>
                    <a:pt x="1865334" y="531163"/>
                    <a:pt x="1840917" y="541240"/>
                    <a:pt x="1813787" y="561394"/>
                  </a:cubicBezTo>
                  <a:cubicBezTo>
                    <a:pt x="1784331" y="586199"/>
                    <a:pt x="1769603" y="638909"/>
                    <a:pt x="1769603" y="719524"/>
                  </a:cubicBezTo>
                  <a:cubicBezTo>
                    <a:pt x="1769603" y="778435"/>
                    <a:pt x="1776580" y="823393"/>
                    <a:pt x="1790533" y="854399"/>
                  </a:cubicBezTo>
                  <a:cubicBezTo>
                    <a:pt x="1807586" y="897807"/>
                    <a:pt x="1838979" y="918736"/>
                    <a:pt x="1884713" y="917186"/>
                  </a:cubicBezTo>
                  <a:cubicBezTo>
                    <a:pt x="1930446" y="917186"/>
                    <a:pt x="1960290" y="896645"/>
                    <a:pt x="1974242" y="855562"/>
                  </a:cubicBezTo>
                  <a:cubicBezTo>
                    <a:pt x="1988195" y="812929"/>
                    <a:pt x="1995171" y="769521"/>
                    <a:pt x="1995171" y="725337"/>
                  </a:cubicBezTo>
                  <a:cubicBezTo>
                    <a:pt x="1995171" y="671077"/>
                    <a:pt x="1985482" y="624956"/>
                    <a:pt x="1966103" y="586974"/>
                  </a:cubicBezTo>
                  <a:cubicBezTo>
                    <a:pt x="1945949" y="549767"/>
                    <a:pt x="1919594" y="531163"/>
                    <a:pt x="1887038" y="531163"/>
                  </a:cubicBezTo>
                  <a:close/>
                  <a:moveTo>
                    <a:pt x="2619430" y="330013"/>
                  </a:moveTo>
                  <a:lnTo>
                    <a:pt x="2619430" y="576509"/>
                  </a:lnTo>
                  <a:cubicBezTo>
                    <a:pt x="2619430" y="667976"/>
                    <a:pt x="2620206" y="750917"/>
                    <a:pt x="2621756" y="825331"/>
                  </a:cubicBezTo>
                  <a:cubicBezTo>
                    <a:pt x="2623306" y="899745"/>
                    <a:pt x="2625632" y="966408"/>
                    <a:pt x="2628732" y="1025319"/>
                  </a:cubicBezTo>
                  <a:lnTo>
                    <a:pt x="2631058" y="1110198"/>
                  </a:lnTo>
                  <a:cubicBezTo>
                    <a:pt x="2631058" y="1133452"/>
                    <a:pt x="2628732" y="1147792"/>
                    <a:pt x="2624081" y="1153218"/>
                  </a:cubicBezTo>
                  <a:lnTo>
                    <a:pt x="2333402" y="1141591"/>
                  </a:lnTo>
                  <a:lnTo>
                    <a:pt x="2335727" y="596275"/>
                  </a:lnTo>
                  <a:cubicBezTo>
                    <a:pt x="2336502" y="559068"/>
                    <a:pt x="2336890" y="519148"/>
                    <a:pt x="2336890" y="476515"/>
                  </a:cubicBezTo>
                  <a:cubicBezTo>
                    <a:pt x="2336890" y="433882"/>
                    <a:pt x="2336890" y="387761"/>
                    <a:pt x="2336890" y="338152"/>
                  </a:cubicBezTo>
                  <a:lnTo>
                    <a:pt x="2404327" y="338152"/>
                  </a:lnTo>
                  <a:cubicBezTo>
                    <a:pt x="2426807" y="338152"/>
                    <a:pt x="2449867" y="337764"/>
                    <a:pt x="2473509" y="336989"/>
                  </a:cubicBezTo>
                  <a:cubicBezTo>
                    <a:pt x="2497151" y="336214"/>
                    <a:pt x="2521374" y="335051"/>
                    <a:pt x="2546179" y="333501"/>
                  </a:cubicBezTo>
                  <a:close/>
                  <a:moveTo>
                    <a:pt x="3461165" y="311409"/>
                  </a:moveTo>
                  <a:cubicBezTo>
                    <a:pt x="3576662" y="311409"/>
                    <a:pt x="3664254" y="335051"/>
                    <a:pt x="3723940" y="382335"/>
                  </a:cubicBezTo>
                  <a:cubicBezTo>
                    <a:pt x="3791378" y="435820"/>
                    <a:pt x="3825096" y="542403"/>
                    <a:pt x="3825096" y="702083"/>
                  </a:cubicBezTo>
                  <a:cubicBezTo>
                    <a:pt x="3825096" y="854787"/>
                    <a:pt x="3797191" y="965245"/>
                    <a:pt x="3741381" y="1033458"/>
                  </a:cubicBezTo>
                  <a:cubicBezTo>
                    <a:pt x="3681694" y="1107872"/>
                    <a:pt x="3566585" y="1145079"/>
                    <a:pt x="3396053" y="1145079"/>
                  </a:cubicBezTo>
                  <a:lnTo>
                    <a:pt x="3335591" y="1145079"/>
                  </a:lnTo>
                  <a:cubicBezTo>
                    <a:pt x="3241024" y="1145079"/>
                    <a:pt x="3164284" y="1143916"/>
                    <a:pt x="3105373" y="1141591"/>
                  </a:cubicBezTo>
                  <a:lnTo>
                    <a:pt x="3120488" y="856725"/>
                  </a:lnTo>
                  <a:lnTo>
                    <a:pt x="3120488" y="831145"/>
                  </a:lnTo>
                  <a:lnTo>
                    <a:pt x="3100722" y="831145"/>
                  </a:lnTo>
                  <a:cubicBezTo>
                    <a:pt x="3099947" y="824944"/>
                    <a:pt x="3099559" y="816223"/>
                    <a:pt x="3099559" y="804984"/>
                  </a:cubicBezTo>
                  <a:cubicBezTo>
                    <a:pt x="3099559" y="793744"/>
                    <a:pt x="3099559" y="779598"/>
                    <a:pt x="3099559" y="762544"/>
                  </a:cubicBezTo>
                  <a:lnTo>
                    <a:pt x="3099559" y="700920"/>
                  </a:lnTo>
                  <a:cubicBezTo>
                    <a:pt x="3099559" y="686192"/>
                    <a:pt x="3099559" y="673790"/>
                    <a:pt x="3099559" y="663713"/>
                  </a:cubicBezTo>
                  <a:cubicBezTo>
                    <a:pt x="3099559" y="653636"/>
                    <a:pt x="3099172" y="645885"/>
                    <a:pt x="3098397" y="640459"/>
                  </a:cubicBezTo>
                  <a:lnTo>
                    <a:pt x="3125139" y="640459"/>
                  </a:lnTo>
                  <a:lnTo>
                    <a:pt x="3121651" y="320711"/>
                  </a:lnTo>
                  <a:lnTo>
                    <a:pt x="3190251" y="319548"/>
                  </a:lnTo>
                  <a:cubicBezTo>
                    <a:pt x="3203429" y="319548"/>
                    <a:pt x="3250713" y="318385"/>
                    <a:pt x="3332103" y="316060"/>
                  </a:cubicBezTo>
                  <a:cubicBezTo>
                    <a:pt x="3349932" y="314510"/>
                    <a:pt x="3369698" y="313347"/>
                    <a:pt x="3391402" y="312572"/>
                  </a:cubicBezTo>
                  <a:cubicBezTo>
                    <a:pt x="3413106" y="311797"/>
                    <a:pt x="3436361" y="311409"/>
                    <a:pt x="3461165" y="311409"/>
                  </a:cubicBezTo>
                  <a:close/>
                  <a:moveTo>
                    <a:pt x="4740678" y="286992"/>
                  </a:moveTo>
                  <a:cubicBezTo>
                    <a:pt x="4746879" y="286992"/>
                    <a:pt x="4761607" y="287961"/>
                    <a:pt x="4784861" y="289899"/>
                  </a:cubicBezTo>
                  <a:cubicBezTo>
                    <a:pt x="4808116" y="291837"/>
                    <a:pt x="4839897" y="294743"/>
                    <a:pt x="4880204" y="298619"/>
                  </a:cubicBezTo>
                  <a:cubicBezTo>
                    <a:pt x="4924388" y="302495"/>
                    <a:pt x="4960432" y="305595"/>
                    <a:pt x="4988337" y="307921"/>
                  </a:cubicBezTo>
                  <a:cubicBezTo>
                    <a:pt x="5016242" y="310246"/>
                    <a:pt x="5036784" y="311409"/>
                    <a:pt x="5049961" y="311409"/>
                  </a:cubicBezTo>
                  <a:cubicBezTo>
                    <a:pt x="5098795" y="311409"/>
                    <a:pt x="5124375" y="312959"/>
                    <a:pt x="5126701" y="316060"/>
                  </a:cubicBezTo>
                  <a:cubicBezTo>
                    <a:pt x="5131352" y="323811"/>
                    <a:pt x="5150343" y="396675"/>
                    <a:pt x="5183674" y="534651"/>
                  </a:cubicBezTo>
                  <a:cubicBezTo>
                    <a:pt x="5196852" y="590462"/>
                    <a:pt x="5210029" y="647241"/>
                    <a:pt x="5223207" y="704990"/>
                  </a:cubicBezTo>
                  <a:cubicBezTo>
                    <a:pt x="5236384" y="762738"/>
                    <a:pt x="5249561" y="821843"/>
                    <a:pt x="5262739" y="882304"/>
                  </a:cubicBezTo>
                  <a:lnTo>
                    <a:pt x="5262739" y="848586"/>
                  </a:lnTo>
                  <a:cubicBezTo>
                    <a:pt x="5262739" y="723012"/>
                    <a:pt x="5260414" y="632320"/>
                    <a:pt x="5255763" y="576509"/>
                  </a:cubicBezTo>
                  <a:lnTo>
                    <a:pt x="5237159" y="324199"/>
                  </a:lnTo>
                  <a:cubicBezTo>
                    <a:pt x="5406141" y="324199"/>
                    <a:pt x="5492957" y="326524"/>
                    <a:pt x="5497608" y="331175"/>
                  </a:cubicBezTo>
                  <a:cubicBezTo>
                    <a:pt x="5499159" y="332726"/>
                    <a:pt x="5499934" y="359856"/>
                    <a:pt x="5499934" y="412566"/>
                  </a:cubicBezTo>
                  <a:cubicBezTo>
                    <a:pt x="5499934" y="444347"/>
                    <a:pt x="5499934" y="476321"/>
                    <a:pt x="5499934" y="508490"/>
                  </a:cubicBezTo>
                  <a:cubicBezTo>
                    <a:pt x="5499934" y="540659"/>
                    <a:pt x="5499546" y="574184"/>
                    <a:pt x="5498771" y="609065"/>
                  </a:cubicBezTo>
                  <a:cubicBezTo>
                    <a:pt x="5497996" y="643947"/>
                    <a:pt x="5497608" y="681348"/>
                    <a:pt x="5497608" y="721268"/>
                  </a:cubicBezTo>
                  <a:cubicBezTo>
                    <a:pt x="5497608" y="761188"/>
                    <a:pt x="5497608" y="804402"/>
                    <a:pt x="5497608" y="850911"/>
                  </a:cubicBezTo>
                  <a:cubicBezTo>
                    <a:pt x="5497608" y="919124"/>
                    <a:pt x="5498190" y="977648"/>
                    <a:pt x="5499352" y="1026482"/>
                  </a:cubicBezTo>
                  <a:cubicBezTo>
                    <a:pt x="5500515" y="1075316"/>
                    <a:pt x="5501871" y="1114848"/>
                    <a:pt x="5503422" y="1145079"/>
                  </a:cubicBezTo>
                  <a:lnTo>
                    <a:pt x="5444123" y="1149730"/>
                  </a:lnTo>
                  <a:lnTo>
                    <a:pt x="5253437" y="1145079"/>
                  </a:lnTo>
                  <a:lnTo>
                    <a:pt x="5129026" y="1135777"/>
                  </a:lnTo>
                  <a:cubicBezTo>
                    <a:pt x="5125150" y="1128801"/>
                    <a:pt x="5122825" y="1119499"/>
                    <a:pt x="5122050" y="1107872"/>
                  </a:cubicBezTo>
                  <a:lnTo>
                    <a:pt x="4987174" y="588136"/>
                  </a:lnTo>
                  <a:cubicBezTo>
                    <a:pt x="4987174" y="620693"/>
                    <a:pt x="4987174" y="656156"/>
                    <a:pt x="4987174" y="694525"/>
                  </a:cubicBezTo>
                  <a:cubicBezTo>
                    <a:pt x="4987174" y="732895"/>
                    <a:pt x="4986787" y="774947"/>
                    <a:pt x="4986012" y="820680"/>
                  </a:cubicBezTo>
                  <a:lnTo>
                    <a:pt x="4983686" y="1163683"/>
                  </a:lnTo>
                  <a:lnTo>
                    <a:pt x="4889506" y="1160195"/>
                  </a:lnTo>
                  <a:cubicBezTo>
                    <a:pt x="4864701" y="1158644"/>
                    <a:pt x="4842609" y="1157482"/>
                    <a:pt x="4823231" y="1156706"/>
                  </a:cubicBezTo>
                  <a:cubicBezTo>
                    <a:pt x="4803852" y="1155931"/>
                    <a:pt x="4787574" y="1155544"/>
                    <a:pt x="4774397" y="1155544"/>
                  </a:cubicBezTo>
                  <a:lnTo>
                    <a:pt x="4743003" y="1155544"/>
                  </a:lnTo>
                  <a:cubicBezTo>
                    <a:pt x="4730601" y="1155544"/>
                    <a:pt x="4724400" y="1154381"/>
                    <a:pt x="4724400" y="1152056"/>
                  </a:cubicBezTo>
                  <a:lnTo>
                    <a:pt x="4724400" y="1150893"/>
                  </a:lnTo>
                  <a:cubicBezTo>
                    <a:pt x="4724400" y="581935"/>
                    <a:pt x="4727501" y="294356"/>
                    <a:pt x="4733702" y="288155"/>
                  </a:cubicBezTo>
                  <a:cubicBezTo>
                    <a:pt x="4734477" y="287379"/>
                    <a:pt x="4736802" y="286992"/>
                    <a:pt x="4740678" y="286992"/>
                  </a:cubicBezTo>
                  <a:close/>
                  <a:moveTo>
                    <a:pt x="749926" y="281178"/>
                  </a:moveTo>
                  <a:cubicBezTo>
                    <a:pt x="763104" y="281178"/>
                    <a:pt x="784033" y="281953"/>
                    <a:pt x="812713" y="283504"/>
                  </a:cubicBezTo>
                  <a:cubicBezTo>
                    <a:pt x="841393" y="285054"/>
                    <a:pt x="878213" y="287379"/>
                    <a:pt x="923172" y="290480"/>
                  </a:cubicBezTo>
                  <a:lnTo>
                    <a:pt x="1006887" y="297456"/>
                  </a:lnTo>
                  <a:lnTo>
                    <a:pt x="1004562" y="617204"/>
                  </a:lnTo>
                  <a:lnTo>
                    <a:pt x="1079575" y="612554"/>
                  </a:lnTo>
                  <a:cubicBezTo>
                    <a:pt x="1083488" y="611778"/>
                    <a:pt x="1088959" y="611000"/>
                    <a:pt x="1095990" y="610219"/>
                  </a:cubicBezTo>
                  <a:cubicBezTo>
                    <a:pt x="1103021" y="609438"/>
                    <a:pt x="1110836" y="608272"/>
                    <a:pt x="1119435" y="606722"/>
                  </a:cubicBezTo>
                  <a:lnTo>
                    <a:pt x="1148739" y="602053"/>
                  </a:lnTo>
                  <a:lnTo>
                    <a:pt x="1148739" y="318385"/>
                  </a:lnTo>
                  <a:lnTo>
                    <a:pt x="1165017" y="318385"/>
                  </a:lnTo>
                  <a:cubicBezTo>
                    <a:pt x="1193698" y="318385"/>
                    <a:pt x="1235556" y="314897"/>
                    <a:pt x="1290591" y="307921"/>
                  </a:cubicBezTo>
                  <a:cubicBezTo>
                    <a:pt x="1344076" y="302495"/>
                    <a:pt x="1384384" y="299007"/>
                    <a:pt x="1411514" y="297456"/>
                  </a:cubicBezTo>
                  <a:lnTo>
                    <a:pt x="1408026" y="604414"/>
                  </a:lnTo>
                  <a:cubicBezTo>
                    <a:pt x="1408026" y="680379"/>
                    <a:pt x="1408026" y="739096"/>
                    <a:pt x="1408026" y="780567"/>
                  </a:cubicBezTo>
                  <a:cubicBezTo>
                    <a:pt x="1408026" y="822037"/>
                    <a:pt x="1408413" y="846648"/>
                    <a:pt x="1409188" y="854399"/>
                  </a:cubicBezTo>
                  <a:lnTo>
                    <a:pt x="1419653" y="1160195"/>
                  </a:lnTo>
                  <a:lnTo>
                    <a:pt x="1142962" y="1163683"/>
                  </a:lnTo>
                  <a:cubicBezTo>
                    <a:pt x="1138287" y="1159032"/>
                    <a:pt x="1135949" y="1145467"/>
                    <a:pt x="1135949" y="1122988"/>
                  </a:cubicBezTo>
                  <a:lnTo>
                    <a:pt x="1146414" y="799751"/>
                  </a:lnTo>
                  <a:lnTo>
                    <a:pt x="1006887" y="806728"/>
                  </a:lnTo>
                  <a:lnTo>
                    <a:pt x="1022003" y="1141591"/>
                  </a:lnTo>
                  <a:lnTo>
                    <a:pt x="745275" y="1145079"/>
                  </a:lnTo>
                  <a:cubicBezTo>
                    <a:pt x="740624" y="1140428"/>
                    <a:pt x="738299" y="1126088"/>
                    <a:pt x="738299" y="1102059"/>
                  </a:cubicBezTo>
                  <a:lnTo>
                    <a:pt x="747601" y="831145"/>
                  </a:lnTo>
                  <a:cubicBezTo>
                    <a:pt x="748376" y="777660"/>
                    <a:pt x="748957" y="729213"/>
                    <a:pt x="749345" y="685805"/>
                  </a:cubicBezTo>
                  <a:cubicBezTo>
                    <a:pt x="749732" y="642397"/>
                    <a:pt x="749926" y="603252"/>
                    <a:pt x="749926" y="568370"/>
                  </a:cubicBezTo>
                  <a:close/>
                  <a:moveTo>
                    <a:pt x="642984" y="280016"/>
                  </a:moveTo>
                  <a:lnTo>
                    <a:pt x="660425" y="281178"/>
                  </a:lnTo>
                  <a:cubicBezTo>
                    <a:pt x="659650" y="285054"/>
                    <a:pt x="659262" y="290868"/>
                    <a:pt x="659262" y="298619"/>
                  </a:cubicBezTo>
                  <a:cubicBezTo>
                    <a:pt x="659262" y="306371"/>
                    <a:pt x="659262" y="316447"/>
                    <a:pt x="659262" y="328850"/>
                  </a:cubicBezTo>
                  <a:lnTo>
                    <a:pt x="663913" y="516048"/>
                  </a:lnTo>
                  <a:cubicBezTo>
                    <a:pt x="663913" y="586586"/>
                    <a:pt x="644922" y="634645"/>
                    <a:pt x="606940" y="660225"/>
                  </a:cubicBezTo>
                  <a:cubicBezTo>
                    <a:pt x="601513" y="664101"/>
                    <a:pt x="595506" y="667395"/>
                    <a:pt x="588918" y="670108"/>
                  </a:cubicBezTo>
                  <a:cubicBezTo>
                    <a:pt x="582329" y="672821"/>
                    <a:pt x="575159" y="674953"/>
                    <a:pt x="567407" y="676503"/>
                  </a:cubicBezTo>
                  <a:cubicBezTo>
                    <a:pt x="555780" y="678829"/>
                    <a:pt x="549966" y="680379"/>
                    <a:pt x="549966" y="681154"/>
                  </a:cubicBezTo>
                  <a:cubicBezTo>
                    <a:pt x="579931" y="691231"/>
                    <a:pt x="608357" y="715648"/>
                    <a:pt x="635245" y="754405"/>
                  </a:cubicBezTo>
                  <a:cubicBezTo>
                    <a:pt x="665984" y="797814"/>
                    <a:pt x="681354" y="875328"/>
                    <a:pt x="681354" y="986949"/>
                  </a:cubicBezTo>
                  <a:lnTo>
                    <a:pt x="680191" y="1047411"/>
                  </a:lnTo>
                  <a:cubicBezTo>
                    <a:pt x="680191" y="1076866"/>
                    <a:pt x="681354" y="1104772"/>
                    <a:pt x="683679" y="1131127"/>
                  </a:cubicBezTo>
                  <a:cubicBezTo>
                    <a:pt x="684454" y="1144304"/>
                    <a:pt x="685036" y="1153800"/>
                    <a:pt x="685423" y="1159613"/>
                  </a:cubicBezTo>
                  <a:lnTo>
                    <a:pt x="685849" y="1165156"/>
                  </a:lnTo>
                  <a:lnTo>
                    <a:pt x="684842" y="1167171"/>
                  </a:lnTo>
                  <a:cubicBezTo>
                    <a:pt x="684067" y="1170271"/>
                    <a:pt x="665160" y="1171822"/>
                    <a:pt x="628123" y="1171822"/>
                  </a:cubicBezTo>
                  <a:cubicBezTo>
                    <a:pt x="606516" y="1171822"/>
                    <a:pt x="589151" y="1171822"/>
                    <a:pt x="576027" y="1171822"/>
                  </a:cubicBezTo>
                  <a:cubicBezTo>
                    <a:pt x="562905" y="1171822"/>
                    <a:pt x="553261" y="1172209"/>
                    <a:pt x="547096" y="1172984"/>
                  </a:cubicBezTo>
                  <a:cubicBezTo>
                    <a:pt x="534742" y="1172984"/>
                    <a:pt x="523935" y="1172984"/>
                    <a:pt x="514676" y="1172984"/>
                  </a:cubicBezTo>
                  <a:cubicBezTo>
                    <a:pt x="505417" y="1172984"/>
                    <a:pt x="497699" y="1173372"/>
                    <a:pt x="491522" y="1174147"/>
                  </a:cubicBezTo>
                  <a:cubicBezTo>
                    <a:pt x="487670" y="1174922"/>
                    <a:pt x="483234" y="1175310"/>
                    <a:pt x="478214" y="1175310"/>
                  </a:cubicBezTo>
                  <a:cubicBezTo>
                    <a:pt x="473193" y="1175310"/>
                    <a:pt x="466826" y="1175310"/>
                    <a:pt x="459111" y="1175310"/>
                  </a:cubicBezTo>
                  <a:lnTo>
                    <a:pt x="419742" y="1176473"/>
                  </a:lnTo>
                  <a:lnTo>
                    <a:pt x="423230" y="1048573"/>
                  </a:lnTo>
                  <a:cubicBezTo>
                    <a:pt x="423230" y="1003615"/>
                    <a:pt x="419742" y="959432"/>
                    <a:pt x="412766" y="916023"/>
                  </a:cubicBezTo>
                  <a:cubicBezTo>
                    <a:pt x="405789" y="874165"/>
                    <a:pt x="396487" y="846260"/>
                    <a:pt x="384860" y="832308"/>
                  </a:cubicBezTo>
                  <a:cubicBezTo>
                    <a:pt x="367807" y="810603"/>
                    <a:pt x="344940" y="799751"/>
                    <a:pt x="316260" y="799751"/>
                  </a:cubicBezTo>
                  <a:lnTo>
                    <a:pt x="297656" y="802077"/>
                  </a:lnTo>
                  <a:cubicBezTo>
                    <a:pt x="288354" y="805953"/>
                    <a:pt x="283704" y="821843"/>
                    <a:pt x="283704" y="849748"/>
                  </a:cubicBezTo>
                  <a:cubicBezTo>
                    <a:pt x="283704" y="891606"/>
                    <a:pt x="284866" y="940828"/>
                    <a:pt x="287192" y="997414"/>
                  </a:cubicBezTo>
                  <a:lnTo>
                    <a:pt x="293005" y="1145079"/>
                  </a:lnTo>
                  <a:lnTo>
                    <a:pt x="0" y="1156706"/>
                  </a:lnTo>
                  <a:lnTo>
                    <a:pt x="3488" y="293968"/>
                  </a:lnTo>
                  <a:cubicBezTo>
                    <a:pt x="3488" y="290093"/>
                    <a:pt x="59299" y="288155"/>
                    <a:pt x="170920" y="288155"/>
                  </a:cubicBezTo>
                  <a:lnTo>
                    <a:pt x="260449" y="290480"/>
                  </a:lnTo>
                  <a:lnTo>
                    <a:pt x="277890" y="605577"/>
                  </a:lnTo>
                  <a:cubicBezTo>
                    <a:pt x="283316" y="607903"/>
                    <a:pt x="289129" y="609065"/>
                    <a:pt x="295331" y="609065"/>
                  </a:cubicBezTo>
                  <a:cubicBezTo>
                    <a:pt x="365094" y="609065"/>
                    <a:pt x="399976" y="562944"/>
                    <a:pt x="399976" y="470702"/>
                  </a:cubicBezTo>
                  <a:lnTo>
                    <a:pt x="397650" y="288155"/>
                  </a:lnTo>
                  <a:lnTo>
                    <a:pt x="426718" y="288155"/>
                  </a:lnTo>
                  <a:cubicBezTo>
                    <a:pt x="440671" y="288155"/>
                    <a:pt x="456949" y="287767"/>
                    <a:pt x="475552" y="286992"/>
                  </a:cubicBezTo>
                  <a:cubicBezTo>
                    <a:pt x="494156" y="286217"/>
                    <a:pt x="515085" y="285054"/>
                    <a:pt x="538339" y="283504"/>
                  </a:cubicBezTo>
                  <a:cubicBezTo>
                    <a:pt x="590274" y="281178"/>
                    <a:pt x="625156" y="280016"/>
                    <a:pt x="642984" y="280016"/>
                  </a:cubicBezTo>
                  <a:close/>
                  <a:moveTo>
                    <a:pt x="4316406" y="270714"/>
                  </a:moveTo>
                  <a:cubicBezTo>
                    <a:pt x="4358264" y="270714"/>
                    <a:pt x="4398959" y="276527"/>
                    <a:pt x="4438492" y="288155"/>
                  </a:cubicBezTo>
                  <a:cubicBezTo>
                    <a:pt x="4511355" y="312184"/>
                    <a:pt x="4568329" y="362569"/>
                    <a:pt x="4609411" y="439308"/>
                  </a:cubicBezTo>
                  <a:cubicBezTo>
                    <a:pt x="4650494" y="517598"/>
                    <a:pt x="4671036" y="604414"/>
                    <a:pt x="4671036" y="699758"/>
                  </a:cubicBezTo>
                  <a:cubicBezTo>
                    <a:pt x="4671036" y="829207"/>
                    <a:pt x="4637317" y="938503"/>
                    <a:pt x="4569879" y="1027644"/>
                  </a:cubicBezTo>
                  <a:cubicBezTo>
                    <a:pt x="4491589" y="1129964"/>
                    <a:pt x="4385782" y="1181123"/>
                    <a:pt x="4252456" y="1181123"/>
                  </a:cubicBezTo>
                  <a:cubicBezTo>
                    <a:pt x="4136960" y="1181123"/>
                    <a:pt x="4046268" y="1147405"/>
                    <a:pt x="3980380" y="1079967"/>
                  </a:cubicBezTo>
                  <a:cubicBezTo>
                    <a:pt x="3913717" y="1011754"/>
                    <a:pt x="3878836" y="916411"/>
                    <a:pt x="3875735" y="793938"/>
                  </a:cubicBezTo>
                  <a:cubicBezTo>
                    <a:pt x="3874960" y="790062"/>
                    <a:pt x="3874572" y="778435"/>
                    <a:pt x="3874572" y="759056"/>
                  </a:cubicBezTo>
                  <a:cubicBezTo>
                    <a:pt x="3874572" y="609453"/>
                    <a:pt x="3909454" y="494344"/>
                    <a:pt x="3979217" y="413728"/>
                  </a:cubicBezTo>
                  <a:cubicBezTo>
                    <a:pt x="4009448" y="378072"/>
                    <a:pt x="4044717" y="349391"/>
                    <a:pt x="4085025" y="327687"/>
                  </a:cubicBezTo>
                  <a:cubicBezTo>
                    <a:pt x="4153238" y="289705"/>
                    <a:pt x="4230365" y="270714"/>
                    <a:pt x="4316406" y="270714"/>
                  </a:cubicBezTo>
                  <a:close/>
                  <a:moveTo>
                    <a:pt x="5986053" y="261412"/>
                  </a:moveTo>
                  <a:lnTo>
                    <a:pt x="5988378" y="261412"/>
                  </a:lnTo>
                  <a:cubicBezTo>
                    <a:pt x="5996905" y="261412"/>
                    <a:pt x="6007951" y="262187"/>
                    <a:pt x="6021516" y="263738"/>
                  </a:cubicBezTo>
                  <a:cubicBezTo>
                    <a:pt x="6035081" y="265288"/>
                    <a:pt x="6050778" y="267613"/>
                    <a:pt x="6068606" y="270714"/>
                  </a:cubicBezTo>
                  <a:cubicBezTo>
                    <a:pt x="6078683" y="272264"/>
                    <a:pt x="6089341" y="274783"/>
                    <a:pt x="6100581" y="278272"/>
                  </a:cubicBezTo>
                  <a:cubicBezTo>
                    <a:pt x="6111821" y="281760"/>
                    <a:pt x="6123642" y="286604"/>
                    <a:pt x="6136044" y="292806"/>
                  </a:cubicBezTo>
                  <a:cubicBezTo>
                    <a:pt x="6229061" y="337764"/>
                    <a:pt x="6281772" y="410240"/>
                    <a:pt x="6294174" y="510234"/>
                  </a:cubicBezTo>
                  <a:cubicBezTo>
                    <a:pt x="6297274" y="528838"/>
                    <a:pt x="6299406" y="544728"/>
                    <a:pt x="6300568" y="557906"/>
                  </a:cubicBezTo>
                  <a:cubicBezTo>
                    <a:pt x="6301731" y="571083"/>
                    <a:pt x="6302312" y="581935"/>
                    <a:pt x="6302312" y="590462"/>
                  </a:cubicBezTo>
                  <a:lnTo>
                    <a:pt x="6203482" y="599764"/>
                  </a:lnTo>
                  <a:lnTo>
                    <a:pt x="6050003" y="611391"/>
                  </a:lnTo>
                  <a:lnTo>
                    <a:pt x="6050003" y="592787"/>
                  </a:lnTo>
                  <a:cubicBezTo>
                    <a:pt x="6050003" y="573409"/>
                    <a:pt x="6041864" y="557131"/>
                    <a:pt x="6025585" y="543953"/>
                  </a:cubicBezTo>
                  <a:cubicBezTo>
                    <a:pt x="6008532" y="530776"/>
                    <a:pt x="5989154" y="524187"/>
                    <a:pt x="5967449" y="524187"/>
                  </a:cubicBezTo>
                  <a:cubicBezTo>
                    <a:pt x="5922491" y="524187"/>
                    <a:pt x="5886447" y="549379"/>
                    <a:pt x="5859317" y="599764"/>
                  </a:cubicBezTo>
                  <a:cubicBezTo>
                    <a:pt x="5835287" y="647823"/>
                    <a:pt x="5823272" y="701308"/>
                    <a:pt x="5823272" y="760219"/>
                  </a:cubicBezTo>
                  <a:cubicBezTo>
                    <a:pt x="5823272" y="840059"/>
                    <a:pt x="5842263" y="891606"/>
                    <a:pt x="5880245" y="914861"/>
                  </a:cubicBezTo>
                  <a:cubicBezTo>
                    <a:pt x="5897299" y="924938"/>
                    <a:pt x="5915515" y="929976"/>
                    <a:pt x="5934893" y="929976"/>
                  </a:cubicBezTo>
                  <a:cubicBezTo>
                    <a:pt x="5958148" y="929976"/>
                    <a:pt x="5978689" y="923000"/>
                    <a:pt x="5996517" y="909047"/>
                  </a:cubicBezTo>
                  <a:cubicBezTo>
                    <a:pt x="6013571" y="894319"/>
                    <a:pt x="6022097" y="876491"/>
                    <a:pt x="6022097" y="855562"/>
                  </a:cubicBezTo>
                  <a:lnTo>
                    <a:pt x="5939544" y="852074"/>
                  </a:lnTo>
                  <a:lnTo>
                    <a:pt x="5939544" y="790450"/>
                  </a:lnTo>
                  <a:cubicBezTo>
                    <a:pt x="5939544" y="749367"/>
                    <a:pt x="5942257" y="727275"/>
                    <a:pt x="5947683" y="724175"/>
                  </a:cubicBezTo>
                  <a:cubicBezTo>
                    <a:pt x="5952334" y="721074"/>
                    <a:pt x="6008920" y="718749"/>
                    <a:pt x="6117440" y="717198"/>
                  </a:cubicBezTo>
                  <a:lnTo>
                    <a:pt x="6281384" y="716036"/>
                  </a:lnTo>
                  <a:lnTo>
                    <a:pt x="6284872" y="748592"/>
                  </a:lnTo>
                  <a:lnTo>
                    <a:pt x="6284872" y="764870"/>
                  </a:lnTo>
                  <a:cubicBezTo>
                    <a:pt x="6284872" y="792775"/>
                    <a:pt x="6281384" y="826882"/>
                    <a:pt x="6274407" y="867189"/>
                  </a:cubicBezTo>
                  <a:cubicBezTo>
                    <a:pt x="6267431" y="909047"/>
                    <a:pt x="6259292" y="943541"/>
                    <a:pt x="6249990" y="970671"/>
                  </a:cubicBezTo>
                  <a:cubicBezTo>
                    <a:pt x="6228286" y="1032683"/>
                    <a:pt x="6187591" y="1080742"/>
                    <a:pt x="6127905" y="1114848"/>
                  </a:cubicBezTo>
                  <a:cubicBezTo>
                    <a:pt x="6068219" y="1149730"/>
                    <a:pt x="6001944" y="1167171"/>
                    <a:pt x="5929080" y="1167171"/>
                  </a:cubicBezTo>
                  <a:cubicBezTo>
                    <a:pt x="5840713" y="1167171"/>
                    <a:pt x="5762424" y="1141591"/>
                    <a:pt x="5694210" y="1090431"/>
                  </a:cubicBezTo>
                  <a:cubicBezTo>
                    <a:pt x="5624447" y="1038497"/>
                    <a:pt x="5582202" y="964470"/>
                    <a:pt x="5567474" y="868352"/>
                  </a:cubicBezTo>
                  <a:cubicBezTo>
                    <a:pt x="5565924" y="852074"/>
                    <a:pt x="5564567" y="836958"/>
                    <a:pt x="5563404" y="823006"/>
                  </a:cubicBezTo>
                  <a:cubicBezTo>
                    <a:pt x="5562242" y="809053"/>
                    <a:pt x="5561660" y="796651"/>
                    <a:pt x="5561660" y="785799"/>
                  </a:cubicBezTo>
                  <a:cubicBezTo>
                    <a:pt x="5561660" y="664876"/>
                    <a:pt x="5582589" y="562944"/>
                    <a:pt x="5624447" y="480003"/>
                  </a:cubicBezTo>
                  <a:cubicBezTo>
                    <a:pt x="5663980" y="402489"/>
                    <a:pt x="5718627" y="345515"/>
                    <a:pt x="5788391" y="309084"/>
                  </a:cubicBezTo>
                  <a:cubicBezTo>
                    <a:pt x="5800793" y="302882"/>
                    <a:pt x="5814358" y="297069"/>
                    <a:pt x="5829086" y="291643"/>
                  </a:cubicBezTo>
                  <a:cubicBezTo>
                    <a:pt x="5843814" y="286217"/>
                    <a:pt x="5859704" y="281178"/>
                    <a:pt x="5876757" y="276527"/>
                  </a:cubicBezTo>
                  <a:cubicBezTo>
                    <a:pt x="5917840" y="266451"/>
                    <a:pt x="5954272" y="261412"/>
                    <a:pt x="5986053" y="261412"/>
                  </a:cubicBezTo>
                  <a:close/>
                  <a:moveTo>
                    <a:pt x="2195159" y="191649"/>
                  </a:moveTo>
                  <a:lnTo>
                    <a:pt x="2219576" y="205602"/>
                  </a:lnTo>
                  <a:cubicBezTo>
                    <a:pt x="2300191" y="253661"/>
                    <a:pt x="2322670" y="312184"/>
                    <a:pt x="2287014" y="381172"/>
                  </a:cubicBezTo>
                  <a:lnTo>
                    <a:pt x="2284688" y="385823"/>
                  </a:lnTo>
                  <a:cubicBezTo>
                    <a:pt x="2268410" y="416054"/>
                    <a:pt x="2244381" y="436595"/>
                    <a:pt x="2212600" y="447447"/>
                  </a:cubicBezTo>
                  <a:cubicBezTo>
                    <a:pt x="2251357" y="523412"/>
                    <a:pt x="2270736" y="607515"/>
                    <a:pt x="2270736" y="699758"/>
                  </a:cubicBezTo>
                  <a:cubicBezTo>
                    <a:pt x="2270736" y="829207"/>
                    <a:pt x="2237017" y="938503"/>
                    <a:pt x="2169579" y="1027644"/>
                  </a:cubicBezTo>
                  <a:cubicBezTo>
                    <a:pt x="2091289" y="1129964"/>
                    <a:pt x="1985482" y="1181123"/>
                    <a:pt x="1852157" y="1181123"/>
                  </a:cubicBezTo>
                  <a:cubicBezTo>
                    <a:pt x="1736660" y="1181123"/>
                    <a:pt x="1645968" y="1147405"/>
                    <a:pt x="1580080" y="1079967"/>
                  </a:cubicBezTo>
                  <a:cubicBezTo>
                    <a:pt x="1513418" y="1011754"/>
                    <a:pt x="1478536" y="916411"/>
                    <a:pt x="1475436" y="793938"/>
                  </a:cubicBezTo>
                  <a:cubicBezTo>
                    <a:pt x="1474660" y="790062"/>
                    <a:pt x="1474273" y="778435"/>
                    <a:pt x="1474273" y="759056"/>
                  </a:cubicBezTo>
                  <a:cubicBezTo>
                    <a:pt x="1474273" y="609453"/>
                    <a:pt x="1509154" y="494344"/>
                    <a:pt x="1578918" y="413728"/>
                  </a:cubicBezTo>
                  <a:cubicBezTo>
                    <a:pt x="1609148" y="378072"/>
                    <a:pt x="1644417" y="349391"/>
                    <a:pt x="1684725" y="327687"/>
                  </a:cubicBezTo>
                  <a:cubicBezTo>
                    <a:pt x="1752938" y="289705"/>
                    <a:pt x="1830065" y="270714"/>
                    <a:pt x="1916106" y="270714"/>
                  </a:cubicBezTo>
                  <a:cubicBezTo>
                    <a:pt x="1957964" y="270714"/>
                    <a:pt x="1998659" y="276527"/>
                    <a:pt x="2038192" y="288155"/>
                  </a:cubicBezTo>
                  <a:cubicBezTo>
                    <a:pt x="2090902" y="305983"/>
                    <a:pt x="2134310" y="335826"/>
                    <a:pt x="2168416" y="377684"/>
                  </a:cubicBezTo>
                  <a:cubicBezTo>
                    <a:pt x="2185470" y="380785"/>
                    <a:pt x="2199034" y="374583"/>
                    <a:pt x="2209112" y="359081"/>
                  </a:cubicBezTo>
                  <a:lnTo>
                    <a:pt x="2210274" y="357918"/>
                  </a:lnTo>
                  <a:cubicBezTo>
                    <a:pt x="2218026" y="340865"/>
                    <a:pt x="2215700" y="324587"/>
                    <a:pt x="2203298" y="309084"/>
                  </a:cubicBezTo>
                  <a:cubicBezTo>
                    <a:pt x="2192446" y="297456"/>
                    <a:pt x="2175393" y="285442"/>
                    <a:pt x="2152138" y="273039"/>
                  </a:cubicBezTo>
                  <a:close/>
                  <a:moveTo>
                    <a:pt x="4176880" y="73051"/>
                  </a:moveTo>
                  <a:lnTo>
                    <a:pt x="4286175" y="76540"/>
                  </a:lnTo>
                  <a:lnTo>
                    <a:pt x="4401285" y="73051"/>
                  </a:lnTo>
                  <a:cubicBezTo>
                    <a:pt x="4404385" y="79277"/>
                    <a:pt x="4409424" y="89027"/>
                    <a:pt x="4416400" y="102301"/>
                  </a:cubicBezTo>
                  <a:cubicBezTo>
                    <a:pt x="4423376" y="115576"/>
                    <a:pt x="4433066" y="132356"/>
                    <a:pt x="4445468" y="152643"/>
                  </a:cubicBezTo>
                  <a:cubicBezTo>
                    <a:pt x="4466397" y="188554"/>
                    <a:pt x="4480737" y="215097"/>
                    <a:pt x="4488489" y="232271"/>
                  </a:cubicBezTo>
                  <a:lnTo>
                    <a:pt x="4486163" y="232271"/>
                  </a:lnTo>
                  <a:cubicBezTo>
                    <a:pt x="4479187" y="232271"/>
                    <a:pt x="4461359" y="234609"/>
                    <a:pt x="4432678" y="239284"/>
                  </a:cubicBezTo>
                  <a:cubicBezTo>
                    <a:pt x="4419501" y="240834"/>
                    <a:pt x="4405161" y="242391"/>
                    <a:pt x="4389657" y="243953"/>
                  </a:cubicBezTo>
                  <a:cubicBezTo>
                    <a:pt x="4374155" y="245516"/>
                    <a:pt x="4357876" y="246684"/>
                    <a:pt x="4340823" y="247459"/>
                  </a:cubicBezTo>
                  <a:cubicBezTo>
                    <a:pt x="4332297" y="234972"/>
                    <a:pt x="4323576" y="221316"/>
                    <a:pt x="4314662" y="206492"/>
                  </a:cubicBezTo>
                  <a:cubicBezTo>
                    <a:pt x="4305748" y="191667"/>
                    <a:pt x="4296640" y="175280"/>
                    <a:pt x="4287338" y="157330"/>
                  </a:cubicBezTo>
                  <a:lnTo>
                    <a:pt x="4226877" y="247459"/>
                  </a:lnTo>
                  <a:cubicBezTo>
                    <a:pt x="4214474" y="246684"/>
                    <a:pt x="4200522" y="246103"/>
                    <a:pt x="4185019" y="245715"/>
                  </a:cubicBezTo>
                  <a:cubicBezTo>
                    <a:pt x="4169516" y="245328"/>
                    <a:pt x="4152850" y="244746"/>
                    <a:pt x="4135022" y="243971"/>
                  </a:cubicBezTo>
                  <a:lnTo>
                    <a:pt x="4057120" y="241628"/>
                  </a:lnTo>
                  <a:cubicBezTo>
                    <a:pt x="4065646" y="228353"/>
                    <a:pt x="4075336" y="214107"/>
                    <a:pt x="4086188" y="198889"/>
                  </a:cubicBezTo>
                  <a:cubicBezTo>
                    <a:pt x="4097040" y="183670"/>
                    <a:pt x="4108667" y="168255"/>
                    <a:pt x="4121069" y="152643"/>
                  </a:cubicBezTo>
                  <a:cubicBezTo>
                    <a:pt x="4148974" y="115182"/>
                    <a:pt x="4167578" y="88651"/>
                    <a:pt x="4176880" y="73051"/>
                  </a:cubicBezTo>
                  <a:close/>
                  <a:moveTo>
                    <a:pt x="1966975" y="91"/>
                  </a:moveTo>
                  <a:cubicBezTo>
                    <a:pt x="1981897" y="-491"/>
                    <a:pt x="1995946" y="1738"/>
                    <a:pt x="2009124" y="6776"/>
                  </a:cubicBezTo>
                  <a:cubicBezTo>
                    <a:pt x="2033929" y="17628"/>
                    <a:pt x="2050982" y="35069"/>
                    <a:pt x="2060283" y="59099"/>
                  </a:cubicBezTo>
                  <a:cubicBezTo>
                    <a:pt x="2071911" y="87779"/>
                    <a:pt x="2069973" y="116847"/>
                    <a:pt x="2054470" y="146303"/>
                  </a:cubicBezTo>
                  <a:cubicBezTo>
                    <a:pt x="2037417" y="178859"/>
                    <a:pt x="2006798" y="204051"/>
                    <a:pt x="1962615" y="221880"/>
                  </a:cubicBezTo>
                  <a:lnTo>
                    <a:pt x="1921920" y="233507"/>
                  </a:lnTo>
                  <a:lnTo>
                    <a:pt x="1909130" y="203276"/>
                  </a:lnTo>
                  <a:cubicBezTo>
                    <a:pt x="1913781" y="202501"/>
                    <a:pt x="1921532" y="198044"/>
                    <a:pt x="1932384" y="189905"/>
                  </a:cubicBezTo>
                  <a:cubicBezTo>
                    <a:pt x="1943237" y="181766"/>
                    <a:pt x="1953701" y="171495"/>
                    <a:pt x="1963778" y="159093"/>
                  </a:cubicBezTo>
                  <a:cubicBezTo>
                    <a:pt x="1977730" y="141264"/>
                    <a:pt x="1980443" y="122273"/>
                    <a:pt x="1971917" y="102119"/>
                  </a:cubicBezTo>
                  <a:cubicBezTo>
                    <a:pt x="1964165" y="88167"/>
                    <a:pt x="1952732" y="80803"/>
                    <a:pt x="1937617" y="80028"/>
                  </a:cubicBezTo>
                  <a:cubicBezTo>
                    <a:pt x="1922501" y="79253"/>
                    <a:pt x="1909518" y="86229"/>
                    <a:pt x="1898666" y="100957"/>
                  </a:cubicBezTo>
                  <a:lnTo>
                    <a:pt x="1838204" y="64912"/>
                  </a:lnTo>
                  <a:cubicBezTo>
                    <a:pt x="1869985" y="37007"/>
                    <a:pt x="1897115" y="18791"/>
                    <a:pt x="1919594" y="10265"/>
                  </a:cubicBezTo>
                  <a:cubicBezTo>
                    <a:pt x="1936260" y="4063"/>
                    <a:pt x="1952053" y="672"/>
                    <a:pt x="1966975" y="91"/>
                  </a:cubicBezTo>
                  <a:close/>
                </a:path>
              </a:pathLst>
            </a:custGeom>
            <a:solidFill>
              <a:schemeClr val="bg1"/>
            </a:solidFill>
            <a:ln w="177800">
              <a:solidFill>
                <a:schemeClr val="bg1"/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00" b="0" i="0" u="none" strike="noStrike" kern="1200" cap="none" spc="300" normalizeH="0" baseline="0" noProof="0">
                <a:ln w="177800"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#9Slide07 Crocante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FE0B441-82BD-FA01-C3BF-6AA240ACE042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246716" y="1721946"/>
              <a:ext cx="6302312" cy="1417156"/>
            </a:xfrm>
            <a:custGeom>
              <a:avLst/>
              <a:gdLst/>
              <a:ahLst/>
              <a:cxnLst/>
              <a:rect l="l" t="t" r="r" b="b"/>
              <a:pathLst>
                <a:path w="6302312" h="1417156">
                  <a:moveTo>
                    <a:pt x="4280362" y="1229958"/>
                  </a:moveTo>
                  <a:cubicBezTo>
                    <a:pt x="4339273" y="1229958"/>
                    <a:pt x="4368729" y="1262126"/>
                    <a:pt x="4368729" y="1326463"/>
                  </a:cubicBezTo>
                  <a:cubicBezTo>
                    <a:pt x="4368729" y="1386925"/>
                    <a:pt x="4338886" y="1417156"/>
                    <a:pt x="4279199" y="1417156"/>
                  </a:cubicBezTo>
                  <a:cubicBezTo>
                    <a:pt x="4252844" y="1417156"/>
                    <a:pt x="4230753" y="1409404"/>
                    <a:pt x="4212924" y="1393901"/>
                  </a:cubicBezTo>
                  <a:cubicBezTo>
                    <a:pt x="4194321" y="1377623"/>
                    <a:pt x="4185019" y="1354756"/>
                    <a:pt x="4185019" y="1325301"/>
                  </a:cubicBezTo>
                  <a:cubicBezTo>
                    <a:pt x="4185019" y="1261739"/>
                    <a:pt x="4216800" y="1229958"/>
                    <a:pt x="4280362" y="1229958"/>
                  </a:cubicBezTo>
                  <a:close/>
                  <a:moveTo>
                    <a:pt x="686005" y="1164845"/>
                  </a:moveTo>
                  <a:cubicBezTo>
                    <a:pt x="686005" y="1166008"/>
                    <a:pt x="685956" y="1166153"/>
                    <a:pt x="685859" y="1165281"/>
                  </a:cubicBezTo>
                  <a:lnTo>
                    <a:pt x="685849" y="1165156"/>
                  </a:lnTo>
                  <a:close/>
                  <a:moveTo>
                    <a:pt x="3443725" y="554418"/>
                  </a:moveTo>
                  <a:lnTo>
                    <a:pt x="3403029" y="556743"/>
                  </a:lnTo>
                  <a:lnTo>
                    <a:pt x="3403029" y="638133"/>
                  </a:lnTo>
                  <a:lnTo>
                    <a:pt x="3499535" y="635808"/>
                  </a:lnTo>
                  <a:lnTo>
                    <a:pt x="3487908" y="831145"/>
                  </a:lnTo>
                  <a:cubicBezTo>
                    <a:pt x="3468529" y="830370"/>
                    <a:pt x="3452251" y="829788"/>
                    <a:pt x="3439074" y="829401"/>
                  </a:cubicBezTo>
                  <a:cubicBezTo>
                    <a:pt x="3425896" y="829013"/>
                    <a:pt x="3415432" y="828819"/>
                    <a:pt x="3407680" y="828819"/>
                  </a:cubicBezTo>
                  <a:lnTo>
                    <a:pt x="3410006" y="889281"/>
                  </a:lnTo>
                  <a:lnTo>
                    <a:pt x="3434423" y="889281"/>
                  </a:lnTo>
                  <a:cubicBezTo>
                    <a:pt x="3460778" y="889281"/>
                    <a:pt x="3479381" y="886955"/>
                    <a:pt x="3490233" y="882304"/>
                  </a:cubicBezTo>
                  <a:cubicBezTo>
                    <a:pt x="3500310" y="878429"/>
                    <a:pt x="3512713" y="866802"/>
                    <a:pt x="3527440" y="847423"/>
                  </a:cubicBezTo>
                  <a:cubicBezTo>
                    <a:pt x="3548369" y="818743"/>
                    <a:pt x="3558834" y="775334"/>
                    <a:pt x="3558834" y="717198"/>
                  </a:cubicBezTo>
                  <a:cubicBezTo>
                    <a:pt x="3558834" y="651311"/>
                    <a:pt x="3546819" y="605190"/>
                    <a:pt x="3522789" y="578835"/>
                  </a:cubicBezTo>
                  <a:cubicBezTo>
                    <a:pt x="3507287" y="562557"/>
                    <a:pt x="3480932" y="554418"/>
                    <a:pt x="3443725" y="554418"/>
                  </a:cubicBezTo>
                  <a:close/>
                  <a:moveTo>
                    <a:pt x="4287338" y="531163"/>
                  </a:moveTo>
                  <a:cubicBezTo>
                    <a:pt x="4265634" y="531163"/>
                    <a:pt x="4241217" y="541240"/>
                    <a:pt x="4214087" y="561394"/>
                  </a:cubicBezTo>
                  <a:cubicBezTo>
                    <a:pt x="4184631" y="586199"/>
                    <a:pt x="4169904" y="638909"/>
                    <a:pt x="4169904" y="719524"/>
                  </a:cubicBezTo>
                  <a:cubicBezTo>
                    <a:pt x="4169904" y="778435"/>
                    <a:pt x="4176880" y="823393"/>
                    <a:pt x="4190833" y="854399"/>
                  </a:cubicBezTo>
                  <a:cubicBezTo>
                    <a:pt x="4207886" y="897807"/>
                    <a:pt x="4239279" y="918736"/>
                    <a:pt x="4285013" y="917186"/>
                  </a:cubicBezTo>
                  <a:cubicBezTo>
                    <a:pt x="4330747" y="917186"/>
                    <a:pt x="4360590" y="896645"/>
                    <a:pt x="4374542" y="855562"/>
                  </a:cubicBezTo>
                  <a:cubicBezTo>
                    <a:pt x="4388495" y="812929"/>
                    <a:pt x="4395471" y="769521"/>
                    <a:pt x="4395471" y="725337"/>
                  </a:cubicBezTo>
                  <a:cubicBezTo>
                    <a:pt x="4395471" y="671077"/>
                    <a:pt x="4385782" y="624956"/>
                    <a:pt x="4366403" y="586974"/>
                  </a:cubicBezTo>
                  <a:cubicBezTo>
                    <a:pt x="4346249" y="549767"/>
                    <a:pt x="4319894" y="531163"/>
                    <a:pt x="4287338" y="531163"/>
                  </a:cubicBezTo>
                  <a:close/>
                  <a:moveTo>
                    <a:pt x="1887038" y="531163"/>
                  </a:moveTo>
                  <a:cubicBezTo>
                    <a:pt x="1865334" y="531163"/>
                    <a:pt x="1840917" y="541240"/>
                    <a:pt x="1813787" y="561394"/>
                  </a:cubicBezTo>
                  <a:cubicBezTo>
                    <a:pt x="1784331" y="586199"/>
                    <a:pt x="1769603" y="638909"/>
                    <a:pt x="1769603" y="719524"/>
                  </a:cubicBezTo>
                  <a:cubicBezTo>
                    <a:pt x="1769603" y="778435"/>
                    <a:pt x="1776580" y="823393"/>
                    <a:pt x="1790533" y="854399"/>
                  </a:cubicBezTo>
                  <a:cubicBezTo>
                    <a:pt x="1807586" y="897807"/>
                    <a:pt x="1838979" y="918736"/>
                    <a:pt x="1884713" y="917186"/>
                  </a:cubicBezTo>
                  <a:cubicBezTo>
                    <a:pt x="1930446" y="917186"/>
                    <a:pt x="1960289" y="896645"/>
                    <a:pt x="1974242" y="855562"/>
                  </a:cubicBezTo>
                  <a:cubicBezTo>
                    <a:pt x="1988195" y="812929"/>
                    <a:pt x="1995171" y="769521"/>
                    <a:pt x="1995171" y="725337"/>
                  </a:cubicBezTo>
                  <a:cubicBezTo>
                    <a:pt x="1995171" y="671077"/>
                    <a:pt x="1985482" y="624956"/>
                    <a:pt x="1966103" y="586974"/>
                  </a:cubicBezTo>
                  <a:cubicBezTo>
                    <a:pt x="1945949" y="549767"/>
                    <a:pt x="1919594" y="531163"/>
                    <a:pt x="1887038" y="531163"/>
                  </a:cubicBezTo>
                  <a:close/>
                  <a:moveTo>
                    <a:pt x="2619431" y="330013"/>
                  </a:moveTo>
                  <a:lnTo>
                    <a:pt x="2619431" y="576509"/>
                  </a:lnTo>
                  <a:cubicBezTo>
                    <a:pt x="2619431" y="667976"/>
                    <a:pt x="2620206" y="750917"/>
                    <a:pt x="2621756" y="825331"/>
                  </a:cubicBezTo>
                  <a:cubicBezTo>
                    <a:pt x="2623307" y="899745"/>
                    <a:pt x="2625632" y="966408"/>
                    <a:pt x="2628732" y="1025319"/>
                  </a:cubicBezTo>
                  <a:lnTo>
                    <a:pt x="2631058" y="1110198"/>
                  </a:lnTo>
                  <a:cubicBezTo>
                    <a:pt x="2631058" y="1133452"/>
                    <a:pt x="2628732" y="1147792"/>
                    <a:pt x="2624082" y="1153218"/>
                  </a:cubicBezTo>
                  <a:lnTo>
                    <a:pt x="2333402" y="1141591"/>
                  </a:lnTo>
                  <a:lnTo>
                    <a:pt x="2335727" y="596275"/>
                  </a:lnTo>
                  <a:cubicBezTo>
                    <a:pt x="2336502" y="559068"/>
                    <a:pt x="2336890" y="519148"/>
                    <a:pt x="2336890" y="476515"/>
                  </a:cubicBezTo>
                  <a:cubicBezTo>
                    <a:pt x="2336890" y="433882"/>
                    <a:pt x="2336890" y="387761"/>
                    <a:pt x="2336890" y="338152"/>
                  </a:cubicBezTo>
                  <a:lnTo>
                    <a:pt x="2404327" y="338152"/>
                  </a:lnTo>
                  <a:cubicBezTo>
                    <a:pt x="2426807" y="338152"/>
                    <a:pt x="2449867" y="337764"/>
                    <a:pt x="2473509" y="336989"/>
                  </a:cubicBezTo>
                  <a:cubicBezTo>
                    <a:pt x="2497151" y="336214"/>
                    <a:pt x="2521375" y="335051"/>
                    <a:pt x="2546179" y="333501"/>
                  </a:cubicBezTo>
                  <a:close/>
                  <a:moveTo>
                    <a:pt x="3461165" y="311409"/>
                  </a:moveTo>
                  <a:cubicBezTo>
                    <a:pt x="3576662" y="311409"/>
                    <a:pt x="3664254" y="335051"/>
                    <a:pt x="3723940" y="382335"/>
                  </a:cubicBezTo>
                  <a:cubicBezTo>
                    <a:pt x="3791378" y="435820"/>
                    <a:pt x="3825097" y="542403"/>
                    <a:pt x="3825097" y="702083"/>
                  </a:cubicBezTo>
                  <a:cubicBezTo>
                    <a:pt x="3825097" y="854787"/>
                    <a:pt x="3797191" y="965245"/>
                    <a:pt x="3741381" y="1033458"/>
                  </a:cubicBezTo>
                  <a:cubicBezTo>
                    <a:pt x="3681695" y="1107872"/>
                    <a:pt x="3566585" y="1145079"/>
                    <a:pt x="3396053" y="1145079"/>
                  </a:cubicBezTo>
                  <a:lnTo>
                    <a:pt x="3335592" y="1145079"/>
                  </a:lnTo>
                  <a:cubicBezTo>
                    <a:pt x="3241024" y="1145079"/>
                    <a:pt x="3164284" y="1143916"/>
                    <a:pt x="3105373" y="1141591"/>
                  </a:cubicBezTo>
                  <a:lnTo>
                    <a:pt x="3120488" y="856725"/>
                  </a:lnTo>
                  <a:lnTo>
                    <a:pt x="3120488" y="831145"/>
                  </a:lnTo>
                  <a:lnTo>
                    <a:pt x="3100722" y="831145"/>
                  </a:lnTo>
                  <a:cubicBezTo>
                    <a:pt x="3099947" y="824944"/>
                    <a:pt x="3099559" y="816223"/>
                    <a:pt x="3099559" y="804984"/>
                  </a:cubicBezTo>
                  <a:cubicBezTo>
                    <a:pt x="3099559" y="793744"/>
                    <a:pt x="3099559" y="779598"/>
                    <a:pt x="3099559" y="762544"/>
                  </a:cubicBezTo>
                  <a:lnTo>
                    <a:pt x="3099559" y="700920"/>
                  </a:lnTo>
                  <a:cubicBezTo>
                    <a:pt x="3099559" y="686192"/>
                    <a:pt x="3099559" y="673790"/>
                    <a:pt x="3099559" y="663713"/>
                  </a:cubicBezTo>
                  <a:cubicBezTo>
                    <a:pt x="3099559" y="653636"/>
                    <a:pt x="3099172" y="645885"/>
                    <a:pt x="3098397" y="640459"/>
                  </a:cubicBezTo>
                  <a:lnTo>
                    <a:pt x="3125139" y="640459"/>
                  </a:lnTo>
                  <a:lnTo>
                    <a:pt x="3121651" y="320711"/>
                  </a:lnTo>
                  <a:lnTo>
                    <a:pt x="3190252" y="319548"/>
                  </a:lnTo>
                  <a:cubicBezTo>
                    <a:pt x="3203429" y="319548"/>
                    <a:pt x="3250713" y="318385"/>
                    <a:pt x="3332103" y="316060"/>
                  </a:cubicBezTo>
                  <a:cubicBezTo>
                    <a:pt x="3349932" y="314510"/>
                    <a:pt x="3369698" y="313347"/>
                    <a:pt x="3391402" y="312572"/>
                  </a:cubicBezTo>
                  <a:cubicBezTo>
                    <a:pt x="3413106" y="311797"/>
                    <a:pt x="3436361" y="311409"/>
                    <a:pt x="3461165" y="311409"/>
                  </a:cubicBezTo>
                  <a:close/>
                  <a:moveTo>
                    <a:pt x="4740678" y="286992"/>
                  </a:moveTo>
                  <a:cubicBezTo>
                    <a:pt x="4746879" y="286992"/>
                    <a:pt x="4761607" y="287961"/>
                    <a:pt x="4784861" y="289899"/>
                  </a:cubicBezTo>
                  <a:cubicBezTo>
                    <a:pt x="4808115" y="291837"/>
                    <a:pt x="4839897" y="294743"/>
                    <a:pt x="4880204" y="298619"/>
                  </a:cubicBezTo>
                  <a:cubicBezTo>
                    <a:pt x="4924387" y="302495"/>
                    <a:pt x="4960432" y="305595"/>
                    <a:pt x="4988337" y="307921"/>
                  </a:cubicBezTo>
                  <a:cubicBezTo>
                    <a:pt x="5016242" y="310246"/>
                    <a:pt x="5036784" y="311409"/>
                    <a:pt x="5049961" y="311409"/>
                  </a:cubicBezTo>
                  <a:cubicBezTo>
                    <a:pt x="5098795" y="311409"/>
                    <a:pt x="5124375" y="312959"/>
                    <a:pt x="5126701" y="316060"/>
                  </a:cubicBezTo>
                  <a:cubicBezTo>
                    <a:pt x="5131352" y="323811"/>
                    <a:pt x="5150343" y="396675"/>
                    <a:pt x="5183674" y="534651"/>
                  </a:cubicBezTo>
                  <a:cubicBezTo>
                    <a:pt x="5196852" y="590462"/>
                    <a:pt x="5210029" y="647241"/>
                    <a:pt x="5223206" y="704990"/>
                  </a:cubicBezTo>
                  <a:cubicBezTo>
                    <a:pt x="5236384" y="762738"/>
                    <a:pt x="5249561" y="821843"/>
                    <a:pt x="5262739" y="882304"/>
                  </a:cubicBezTo>
                  <a:lnTo>
                    <a:pt x="5262739" y="848586"/>
                  </a:lnTo>
                  <a:cubicBezTo>
                    <a:pt x="5262739" y="723012"/>
                    <a:pt x="5260413" y="632320"/>
                    <a:pt x="5255763" y="576509"/>
                  </a:cubicBezTo>
                  <a:lnTo>
                    <a:pt x="5237159" y="324199"/>
                  </a:lnTo>
                  <a:cubicBezTo>
                    <a:pt x="5406141" y="324199"/>
                    <a:pt x="5492957" y="326524"/>
                    <a:pt x="5497608" y="331175"/>
                  </a:cubicBezTo>
                  <a:cubicBezTo>
                    <a:pt x="5499159" y="332726"/>
                    <a:pt x="5499934" y="359856"/>
                    <a:pt x="5499934" y="412566"/>
                  </a:cubicBezTo>
                  <a:cubicBezTo>
                    <a:pt x="5499934" y="444347"/>
                    <a:pt x="5499934" y="476321"/>
                    <a:pt x="5499934" y="508490"/>
                  </a:cubicBezTo>
                  <a:cubicBezTo>
                    <a:pt x="5499934" y="540659"/>
                    <a:pt x="5499546" y="574184"/>
                    <a:pt x="5498771" y="609065"/>
                  </a:cubicBezTo>
                  <a:cubicBezTo>
                    <a:pt x="5497996" y="643947"/>
                    <a:pt x="5497608" y="681348"/>
                    <a:pt x="5497608" y="721268"/>
                  </a:cubicBezTo>
                  <a:cubicBezTo>
                    <a:pt x="5497608" y="761188"/>
                    <a:pt x="5497608" y="804402"/>
                    <a:pt x="5497608" y="850911"/>
                  </a:cubicBezTo>
                  <a:cubicBezTo>
                    <a:pt x="5497608" y="919124"/>
                    <a:pt x="5498190" y="977648"/>
                    <a:pt x="5499352" y="1026482"/>
                  </a:cubicBezTo>
                  <a:cubicBezTo>
                    <a:pt x="5500515" y="1075316"/>
                    <a:pt x="5501871" y="1114848"/>
                    <a:pt x="5503422" y="1145079"/>
                  </a:cubicBezTo>
                  <a:lnTo>
                    <a:pt x="5444123" y="1149730"/>
                  </a:lnTo>
                  <a:lnTo>
                    <a:pt x="5253437" y="1145079"/>
                  </a:lnTo>
                  <a:lnTo>
                    <a:pt x="5129026" y="1135777"/>
                  </a:lnTo>
                  <a:cubicBezTo>
                    <a:pt x="5125150" y="1128801"/>
                    <a:pt x="5122825" y="1119499"/>
                    <a:pt x="5122050" y="1107872"/>
                  </a:cubicBezTo>
                  <a:lnTo>
                    <a:pt x="4987174" y="588136"/>
                  </a:lnTo>
                  <a:cubicBezTo>
                    <a:pt x="4987174" y="620693"/>
                    <a:pt x="4987174" y="656156"/>
                    <a:pt x="4987174" y="694525"/>
                  </a:cubicBezTo>
                  <a:cubicBezTo>
                    <a:pt x="4987174" y="732895"/>
                    <a:pt x="4986787" y="774947"/>
                    <a:pt x="4986012" y="820680"/>
                  </a:cubicBezTo>
                  <a:lnTo>
                    <a:pt x="4983686" y="1163683"/>
                  </a:lnTo>
                  <a:lnTo>
                    <a:pt x="4889506" y="1160195"/>
                  </a:lnTo>
                  <a:cubicBezTo>
                    <a:pt x="4864701" y="1158644"/>
                    <a:pt x="4842609" y="1157482"/>
                    <a:pt x="4823231" y="1156706"/>
                  </a:cubicBezTo>
                  <a:cubicBezTo>
                    <a:pt x="4803852" y="1155931"/>
                    <a:pt x="4787574" y="1155544"/>
                    <a:pt x="4774397" y="1155544"/>
                  </a:cubicBezTo>
                  <a:lnTo>
                    <a:pt x="4743003" y="1155544"/>
                  </a:lnTo>
                  <a:cubicBezTo>
                    <a:pt x="4730601" y="1155544"/>
                    <a:pt x="4724400" y="1154381"/>
                    <a:pt x="4724400" y="1152056"/>
                  </a:cubicBezTo>
                  <a:lnTo>
                    <a:pt x="4724400" y="1150893"/>
                  </a:lnTo>
                  <a:cubicBezTo>
                    <a:pt x="4724400" y="581935"/>
                    <a:pt x="4727501" y="294356"/>
                    <a:pt x="4733701" y="288155"/>
                  </a:cubicBezTo>
                  <a:cubicBezTo>
                    <a:pt x="4734477" y="287379"/>
                    <a:pt x="4736802" y="286992"/>
                    <a:pt x="4740678" y="286992"/>
                  </a:cubicBezTo>
                  <a:close/>
                  <a:moveTo>
                    <a:pt x="749926" y="281178"/>
                  </a:moveTo>
                  <a:cubicBezTo>
                    <a:pt x="763104" y="281178"/>
                    <a:pt x="784033" y="281953"/>
                    <a:pt x="812713" y="283504"/>
                  </a:cubicBezTo>
                  <a:cubicBezTo>
                    <a:pt x="841393" y="285054"/>
                    <a:pt x="878213" y="287379"/>
                    <a:pt x="923172" y="290480"/>
                  </a:cubicBezTo>
                  <a:lnTo>
                    <a:pt x="1006887" y="297456"/>
                  </a:lnTo>
                  <a:lnTo>
                    <a:pt x="1004562" y="617204"/>
                  </a:lnTo>
                  <a:lnTo>
                    <a:pt x="1079576" y="612554"/>
                  </a:lnTo>
                  <a:cubicBezTo>
                    <a:pt x="1083488" y="611778"/>
                    <a:pt x="1088959" y="611000"/>
                    <a:pt x="1095990" y="610219"/>
                  </a:cubicBezTo>
                  <a:cubicBezTo>
                    <a:pt x="1103021" y="609438"/>
                    <a:pt x="1110836" y="608272"/>
                    <a:pt x="1119435" y="606722"/>
                  </a:cubicBezTo>
                  <a:lnTo>
                    <a:pt x="1148739" y="602053"/>
                  </a:lnTo>
                  <a:lnTo>
                    <a:pt x="1148739" y="318385"/>
                  </a:lnTo>
                  <a:lnTo>
                    <a:pt x="1165017" y="318385"/>
                  </a:lnTo>
                  <a:cubicBezTo>
                    <a:pt x="1193698" y="318385"/>
                    <a:pt x="1235556" y="314897"/>
                    <a:pt x="1290591" y="307921"/>
                  </a:cubicBezTo>
                  <a:cubicBezTo>
                    <a:pt x="1344076" y="302495"/>
                    <a:pt x="1384384" y="299007"/>
                    <a:pt x="1411514" y="297456"/>
                  </a:cubicBezTo>
                  <a:lnTo>
                    <a:pt x="1408026" y="604414"/>
                  </a:lnTo>
                  <a:cubicBezTo>
                    <a:pt x="1408026" y="680379"/>
                    <a:pt x="1408026" y="739096"/>
                    <a:pt x="1408026" y="780567"/>
                  </a:cubicBezTo>
                  <a:cubicBezTo>
                    <a:pt x="1408026" y="822037"/>
                    <a:pt x="1408413" y="846648"/>
                    <a:pt x="1409188" y="854399"/>
                  </a:cubicBezTo>
                  <a:lnTo>
                    <a:pt x="1419653" y="1160195"/>
                  </a:lnTo>
                  <a:lnTo>
                    <a:pt x="1142962" y="1163683"/>
                  </a:lnTo>
                  <a:cubicBezTo>
                    <a:pt x="1138287" y="1159032"/>
                    <a:pt x="1135949" y="1145467"/>
                    <a:pt x="1135949" y="1122988"/>
                  </a:cubicBezTo>
                  <a:lnTo>
                    <a:pt x="1146414" y="799751"/>
                  </a:lnTo>
                  <a:lnTo>
                    <a:pt x="1006887" y="806728"/>
                  </a:lnTo>
                  <a:lnTo>
                    <a:pt x="1022003" y="1141591"/>
                  </a:lnTo>
                  <a:lnTo>
                    <a:pt x="745275" y="1145079"/>
                  </a:lnTo>
                  <a:cubicBezTo>
                    <a:pt x="740624" y="1140428"/>
                    <a:pt x="738299" y="1126088"/>
                    <a:pt x="738299" y="1102059"/>
                  </a:cubicBezTo>
                  <a:lnTo>
                    <a:pt x="747601" y="831145"/>
                  </a:lnTo>
                  <a:cubicBezTo>
                    <a:pt x="748376" y="777660"/>
                    <a:pt x="748957" y="729213"/>
                    <a:pt x="749345" y="685805"/>
                  </a:cubicBezTo>
                  <a:cubicBezTo>
                    <a:pt x="749732" y="642397"/>
                    <a:pt x="749926" y="603252"/>
                    <a:pt x="749926" y="568370"/>
                  </a:cubicBezTo>
                  <a:close/>
                  <a:moveTo>
                    <a:pt x="642984" y="280016"/>
                  </a:moveTo>
                  <a:lnTo>
                    <a:pt x="660425" y="281178"/>
                  </a:lnTo>
                  <a:cubicBezTo>
                    <a:pt x="659649" y="285054"/>
                    <a:pt x="659262" y="290868"/>
                    <a:pt x="659262" y="298619"/>
                  </a:cubicBezTo>
                  <a:cubicBezTo>
                    <a:pt x="659262" y="306371"/>
                    <a:pt x="659262" y="316447"/>
                    <a:pt x="659262" y="328850"/>
                  </a:cubicBezTo>
                  <a:lnTo>
                    <a:pt x="663913" y="516048"/>
                  </a:lnTo>
                  <a:cubicBezTo>
                    <a:pt x="663913" y="586586"/>
                    <a:pt x="644922" y="634645"/>
                    <a:pt x="606940" y="660225"/>
                  </a:cubicBezTo>
                  <a:cubicBezTo>
                    <a:pt x="601514" y="664101"/>
                    <a:pt x="595506" y="667395"/>
                    <a:pt x="588917" y="670108"/>
                  </a:cubicBezTo>
                  <a:cubicBezTo>
                    <a:pt x="582329" y="672821"/>
                    <a:pt x="575159" y="674953"/>
                    <a:pt x="567407" y="676503"/>
                  </a:cubicBezTo>
                  <a:cubicBezTo>
                    <a:pt x="555780" y="678829"/>
                    <a:pt x="549966" y="680379"/>
                    <a:pt x="549966" y="681154"/>
                  </a:cubicBezTo>
                  <a:cubicBezTo>
                    <a:pt x="579931" y="691231"/>
                    <a:pt x="608357" y="715648"/>
                    <a:pt x="635245" y="754405"/>
                  </a:cubicBezTo>
                  <a:cubicBezTo>
                    <a:pt x="665984" y="797814"/>
                    <a:pt x="681354" y="875328"/>
                    <a:pt x="681354" y="986949"/>
                  </a:cubicBezTo>
                  <a:lnTo>
                    <a:pt x="680191" y="1047411"/>
                  </a:lnTo>
                  <a:cubicBezTo>
                    <a:pt x="680191" y="1076866"/>
                    <a:pt x="681354" y="1104772"/>
                    <a:pt x="683679" y="1131127"/>
                  </a:cubicBezTo>
                  <a:cubicBezTo>
                    <a:pt x="684454" y="1144304"/>
                    <a:pt x="685036" y="1153800"/>
                    <a:pt x="685423" y="1159613"/>
                  </a:cubicBezTo>
                  <a:lnTo>
                    <a:pt x="685849" y="1165156"/>
                  </a:lnTo>
                  <a:lnTo>
                    <a:pt x="684842" y="1167171"/>
                  </a:lnTo>
                  <a:cubicBezTo>
                    <a:pt x="684067" y="1170271"/>
                    <a:pt x="665160" y="1171822"/>
                    <a:pt x="628123" y="1171822"/>
                  </a:cubicBezTo>
                  <a:cubicBezTo>
                    <a:pt x="606516" y="1171822"/>
                    <a:pt x="589151" y="1171822"/>
                    <a:pt x="576028" y="1171822"/>
                  </a:cubicBezTo>
                  <a:cubicBezTo>
                    <a:pt x="562905" y="1171822"/>
                    <a:pt x="553261" y="1172209"/>
                    <a:pt x="547096" y="1172984"/>
                  </a:cubicBezTo>
                  <a:cubicBezTo>
                    <a:pt x="534742" y="1172984"/>
                    <a:pt x="523935" y="1172984"/>
                    <a:pt x="514676" y="1172984"/>
                  </a:cubicBezTo>
                  <a:cubicBezTo>
                    <a:pt x="505417" y="1172984"/>
                    <a:pt x="497699" y="1173372"/>
                    <a:pt x="491521" y="1174147"/>
                  </a:cubicBezTo>
                  <a:cubicBezTo>
                    <a:pt x="487670" y="1174922"/>
                    <a:pt x="483234" y="1175310"/>
                    <a:pt x="478214" y="1175310"/>
                  </a:cubicBezTo>
                  <a:cubicBezTo>
                    <a:pt x="473194" y="1175310"/>
                    <a:pt x="466826" y="1175310"/>
                    <a:pt x="459111" y="1175310"/>
                  </a:cubicBezTo>
                  <a:lnTo>
                    <a:pt x="419742" y="1176473"/>
                  </a:lnTo>
                  <a:lnTo>
                    <a:pt x="423230" y="1048573"/>
                  </a:lnTo>
                  <a:cubicBezTo>
                    <a:pt x="423230" y="1003615"/>
                    <a:pt x="419742" y="959432"/>
                    <a:pt x="412766" y="916023"/>
                  </a:cubicBezTo>
                  <a:cubicBezTo>
                    <a:pt x="405789" y="874165"/>
                    <a:pt x="396487" y="846260"/>
                    <a:pt x="384860" y="832308"/>
                  </a:cubicBezTo>
                  <a:cubicBezTo>
                    <a:pt x="367807" y="810603"/>
                    <a:pt x="344940" y="799751"/>
                    <a:pt x="316260" y="799751"/>
                  </a:cubicBezTo>
                  <a:lnTo>
                    <a:pt x="297656" y="802077"/>
                  </a:lnTo>
                  <a:cubicBezTo>
                    <a:pt x="288354" y="805953"/>
                    <a:pt x="283703" y="821843"/>
                    <a:pt x="283703" y="849748"/>
                  </a:cubicBezTo>
                  <a:cubicBezTo>
                    <a:pt x="283703" y="891606"/>
                    <a:pt x="284866" y="940828"/>
                    <a:pt x="287192" y="997414"/>
                  </a:cubicBezTo>
                  <a:lnTo>
                    <a:pt x="293005" y="1145079"/>
                  </a:lnTo>
                  <a:lnTo>
                    <a:pt x="0" y="1156706"/>
                  </a:lnTo>
                  <a:lnTo>
                    <a:pt x="3488" y="293968"/>
                  </a:lnTo>
                  <a:cubicBezTo>
                    <a:pt x="3488" y="290093"/>
                    <a:pt x="59299" y="288155"/>
                    <a:pt x="170920" y="288155"/>
                  </a:cubicBezTo>
                  <a:lnTo>
                    <a:pt x="260449" y="290480"/>
                  </a:lnTo>
                  <a:lnTo>
                    <a:pt x="277890" y="605577"/>
                  </a:lnTo>
                  <a:cubicBezTo>
                    <a:pt x="283316" y="607903"/>
                    <a:pt x="289130" y="609065"/>
                    <a:pt x="295331" y="609065"/>
                  </a:cubicBezTo>
                  <a:cubicBezTo>
                    <a:pt x="365094" y="609065"/>
                    <a:pt x="399976" y="562944"/>
                    <a:pt x="399976" y="470702"/>
                  </a:cubicBezTo>
                  <a:lnTo>
                    <a:pt x="397650" y="288155"/>
                  </a:lnTo>
                  <a:lnTo>
                    <a:pt x="426718" y="288155"/>
                  </a:lnTo>
                  <a:cubicBezTo>
                    <a:pt x="440671" y="288155"/>
                    <a:pt x="456949" y="287767"/>
                    <a:pt x="475552" y="286992"/>
                  </a:cubicBezTo>
                  <a:cubicBezTo>
                    <a:pt x="494156" y="286217"/>
                    <a:pt x="515085" y="285054"/>
                    <a:pt x="538339" y="283504"/>
                  </a:cubicBezTo>
                  <a:cubicBezTo>
                    <a:pt x="590274" y="281178"/>
                    <a:pt x="625155" y="280016"/>
                    <a:pt x="642984" y="280016"/>
                  </a:cubicBezTo>
                  <a:close/>
                  <a:moveTo>
                    <a:pt x="4316406" y="270714"/>
                  </a:moveTo>
                  <a:cubicBezTo>
                    <a:pt x="4358264" y="270714"/>
                    <a:pt x="4398959" y="276527"/>
                    <a:pt x="4438492" y="288155"/>
                  </a:cubicBezTo>
                  <a:cubicBezTo>
                    <a:pt x="4511356" y="312184"/>
                    <a:pt x="4568329" y="362569"/>
                    <a:pt x="4609412" y="439308"/>
                  </a:cubicBezTo>
                  <a:cubicBezTo>
                    <a:pt x="4650495" y="517598"/>
                    <a:pt x="4671036" y="604414"/>
                    <a:pt x="4671036" y="699758"/>
                  </a:cubicBezTo>
                  <a:cubicBezTo>
                    <a:pt x="4671036" y="829207"/>
                    <a:pt x="4637317" y="938503"/>
                    <a:pt x="4569879" y="1027644"/>
                  </a:cubicBezTo>
                  <a:cubicBezTo>
                    <a:pt x="4491589" y="1129964"/>
                    <a:pt x="4385782" y="1181123"/>
                    <a:pt x="4252457" y="1181123"/>
                  </a:cubicBezTo>
                  <a:cubicBezTo>
                    <a:pt x="4136960" y="1181123"/>
                    <a:pt x="4046268" y="1147405"/>
                    <a:pt x="3980380" y="1079967"/>
                  </a:cubicBezTo>
                  <a:cubicBezTo>
                    <a:pt x="3913718" y="1011754"/>
                    <a:pt x="3878836" y="916411"/>
                    <a:pt x="3875735" y="793938"/>
                  </a:cubicBezTo>
                  <a:cubicBezTo>
                    <a:pt x="3874960" y="790062"/>
                    <a:pt x="3874573" y="778435"/>
                    <a:pt x="3874573" y="759056"/>
                  </a:cubicBezTo>
                  <a:cubicBezTo>
                    <a:pt x="3874573" y="609453"/>
                    <a:pt x="3909454" y="494344"/>
                    <a:pt x="3979217" y="413728"/>
                  </a:cubicBezTo>
                  <a:cubicBezTo>
                    <a:pt x="4009448" y="378072"/>
                    <a:pt x="4044718" y="349391"/>
                    <a:pt x="4085025" y="327687"/>
                  </a:cubicBezTo>
                  <a:cubicBezTo>
                    <a:pt x="4153238" y="289705"/>
                    <a:pt x="4230365" y="270714"/>
                    <a:pt x="4316406" y="270714"/>
                  </a:cubicBezTo>
                  <a:close/>
                  <a:moveTo>
                    <a:pt x="5986053" y="261412"/>
                  </a:moveTo>
                  <a:lnTo>
                    <a:pt x="5988378" y="261412"/>
                  </a:lnTo>
                  <a:cubicBezTo>
                    <a:pt x="5996905" y="261412"/>
                    <a:pt x="6007951" y="262187"/>
                    <a:pt x="6021516" y="263738"/>
                  </a:cubicBezTo>
                  <a:cubicBezTo>
                    <a:pt x="6035081" y="265288"/>
                    <a:pt x="6050778" y="267613"/>
                    <a:pt x="6068606" y="270714"/>
                  </a:cubicBezTo>
                  <a:cubicBezTo>
                    <a:pt x="6078683" y="272264"/>
                    <a:pt x="6089341" y="274783"/>
                    <a:pt x="6100581" y="278272"/>
                  </a:cubicBezTo>
                  <a:cubicBezTo>
                    <a:pt x="6111821" y="281760"/>
                    <a:pt x="6123642" y="286604"/>
                    <a:pt x="6136044" y="292806"/>
                  </a:cubicBezTo>
                  <a:cubicBezTo>
                    <a:pt x="6229061" y="337764"/>
                    <a:pt x="6281771" y="410240"/>
                    <a:pt x="6294174" y="510234"/>
                  </a:cubicBezTo>
                  <a:cubicBezTo>
                    <a:pt x="6297274" y="528838"/>
                    <a:pt x="6299406" y="544728"/>
                    <a:pt x="6300568" y="557906"/>
                  </a:cubicBezTo>
                  <a:cubicBezTo>
                    <a:pt x="6301731" y="571083"/>
                    <a:pt x="6302312" y="581935"/>
                    <a:pt x="6302312" y="590462"/>
                  </a:cubicBezTo>
                  <a:lnTo>
                    <a:pt x="6203481" y="599764"/>
                  </a:lnTo>
                  <a:lnTo>
                    <a:pt x="6050002" y="611391"/>
                  </a:lnTo>
                  <a:lnTo>
                    <a:pt x="6050002" y="592787"/>
                  </a:lnTo>
                  <a:cubicBezTo>
                    <a:pt x="6050002" y="573409"/>
                    <a:pt x="6041863" y="557131"/>
                    <a:pt x="6025585" y="543953"/>
                  </a:cubicBezTo>
                  <a:cubicBezTo>
                    <a:pt x="6008532" y="530776"/>
                    <a:pt x="5989154" y="524187"/>
                    <a:pt x="5967449" y="524187"/>
                  </a:cubicBezTo>
                  <a:cubicBezTo>
                    <a:pt x="5922491" y="524187"/>
                    <a:pt x="5886447" y="549379"/>
                    <a:pt x="5859316" y="599764"/>
                  </a:cubicBezTo>
                  <a:cubicBezTo>
                    <a:pt x="5835287" y="647823"/>
                    <a:pt x="5823272" y="701308"/>
                    <a:pt x="5823272" y="760219"/>
                  </a:cubicBezTo>
                  <a:cubicBezTo>
                    <a:pt x="5823272" y="840059"/>
                    <a:pt x="5842263" y="891606"/>
                    <a:pt x="5880245" y="914861"/>
                  </a:cubicBezTo>
                  <a:cubicBezTo>
                    <a:pt x="5897299" y="924938"/>
                    <a:pt x="5915515" y="929976"/>
                    <a:pt x="5934893" y="929976"/>
                  </a:cubicBezTo>
                  <a:cubicBezTo>
                    <a:pt x="5958148" y="929976"/>
                    <a:pt x="5978689" y="923000"/>
                    <a:pt x="5996517" y="909047"/>
                  </a:cubicBezTo>
                  <a:cubicBezTo>
                    <a:pt x="6013571" y="894319"/>
                    <a:pt x="6022097" y="876491"/>
                    <a:pt x="6022097" y="855562"/>
                  </a:cubicBezTo>
                  <a:lnTo>
                    <a:pt x="5939544" y="852074"/>
                  </a:lnTo>
                  <a:lnTo>
                    <a:pt x="5939544" y="790450"/>
                  </a:lnTo>
                  <a:cubicBezTo>
                    <a:pt x="5939544" y="749367"/>
                    <a:pt x="5942257" y="727275"/>
                    <a:pt x="5947683" y="724175"/>
                  </a:cubicBezTo>
                  <a:cubicBezTo>
                    <a:pt x="5952334" y="721074"/>
                    <a:pt x="6008920" y="718749"/>
                    <a:pt x="6117440" y="717198"/>
                  </a:cubicBezTo>
                  <a:lnTo>
                    <a:pt x="6281384" y="716036"/>
                  </a:lnTo>
                  <a:lnTo>
                    <a:pt x="6284872" y="748592"/>
                  </a:lnTo>
                  <a:lnTo>
                    <a:pt x="6284872" y="764870"/>
                  </a:lnTo>
                  <a:cubicBezTo>
                    <a:pt x="6284872" y="792775"/>
                    <a:pt x="6281384" y="826882"/>
                    <a:pt x="6274407" y="867189"/>
                  </a:cubicBezTo>
                  <a:cubicBezTo>
                    <a:pt x="6267431" y="909047"/>
                    <a:pt x="6259292" y="943541"/>
                    <a:pt x="6249990" y="970671"/>
                  </a:cubicBezTo>
                  <a:cubicBezTo>
                    <a:pt x="6228286" y="1032683"/>
                    <a:pt x="6187591" y="1080742"/>
                    <a:pt x="6127905" y="1114848"/>
                  </a:cubicBezTo>
                  <a:cubicBezTo>
                    <a:pt x="6068219" y="1149730"/>
                    <a:pt x="6001944" y="1167171"/>
                    <a:pt x="5929080" y="1167171"/>
                  </a:cubicBezTo>
                  <a:cubicBezTo>
                    <a:pt x="5840713" y="1167171"/>
                    <a:pt x="5762424" y="1141591"/>
                    <a:pt x="5694210" y="1090431"/>
                  </a:cubicBezTo>
                  <a:cubicBezTo>
                    <a:pt x="5624447" y="1038497"/>
                    <a:pt x="5582202" y="964470"/>
                    <a:pt x="5567474" y="868352"/>
                  </a:cubicBezTo>
                  <a:cubicBezTo>
                    <a:pt x="5565924" y="852074"/>
                    <a:pt x="5564567" y="836958"/>
                    <a:pt x="5563404" y="823006"/>
                  </a:cubicBezTo>
                  <a:cubicBezTo>
                    <a:pt x="5562242" y="809053"/>
                    <a:pt x="5561660" y="796651"/>
                    <a:pt x="5561660" y="785799"/>
                  </a:cubicBezTo>
                  <a:cubicBezTo>
                    <a:pt x="5561660" y="664876"/>
                    <a:pt x="5582589" y="562944"/>
                    <a:pt x="5624447" y="480003"/>
                  </a:cubicBezTo>
                  <a:cubicBezTo>
                    <a:pt x="5663980" y="402489"/>
                    <a:pt x="5718627" y="345515"/>
                    <a:pt x="5788391" y="309084"/>
                  </a:cubicBezTo>
                  <a:cubicBezTo>
                    <a:pt x="5800793" y="302882"/>
                    <a:pt x="5814358" y="297069"/>
                    <a:pt x="5829086" y="291643"/>
                  </a:cubicBezTo>
                  <a:cubicBezTo>
                    <a:pt x="5843814" y="286217"/>
                    <a:pt x="5859704" y="281178"/>
                    <a:pt x="5876757" y="276527"/>
                  </a:cubicBezTo>
                  <a:cubicBezTo>
                    <a:pt x="5917840" y="266451"/>
                    <a:pt x="5954272" y="261412"/>
                    <a:pt x="5986053" y="261412"/>
                  </a:cubicBezTo>
                  <a:close/>
                  <a:moveTo>
                    <a:pt x="2195159" y="191649"/>
                  </a:moveTo>
                  <a:lnTo>
                    <a:pt x="2219576" y="205602"/>
                  </a:lnTo>
                  <a:cubicBezTo>
                    <a:pt x="2300191" y="253661"/>
                    <a:pt x="2322670" y="312184"/>
                    <a:pt x="2287014" y="381172"/>
                  </a:cubicBezTo>
                  <a:lnTo>
                    <a:pt x="2284688" y="385823"/>
                  </a:lnTo>
                  <a:cubicBezTo>
                    <a:pt x="2268410" y="416054"/>
                    <a:pt x="2244380" y="436595"/>
                    <a:pt x="2212600" y="447447"/>
                  </a:cubicBezTo>
                  <a:cubicBezTo>
                    <a:pt x="2251357" y="523412"/>
                    <a:pt x="2270736" y="607515"/>
                    <a:pt x="2270736" y="699758"/>
                  </a:cubicBezTo>
                  <a:cubicBezTo>
                    <a:pt x="2270736" y="829207"/>
                    <a:pt x="2237017" y="938503"/>
                    <a:pt x="2169579" y="1027644"/>
                  </a:cubicBezTo>
                  <a:cubicBezTo>
                    <a:pt x="2091289" y="1129964"/>
                    <a:pt x="1985482" y="1181123"/>
                    <a:pt x="1852157" y="1181123"/>
                  </a:cubicBezTo>
                  <a:cubicBezTo>
                    <a:pt x="1736660" y="1181123"/>
                    <a:pt x="1645968" y="1147405"/>
                    <a:pt x="1580080" y="1079967"/>
                  </a:cubicBezTo>
                  <a:cubicBezTo>
                    <a:pt x="1513418" y="1011754"/>
                    <a:pt x="1478536" y="916411"/>
                    <a:pt x="1475435" y="793938"/>
                  </a:cubicBezTo>
                  <a:cubicBezTo>
                    <a:pt x="1474660" y="790062"/>
                    <a:pt x="1474273" y="778435"/>
                    <a:pt x="1474273" y="759056"/>
                  </a:cubicBezTo>
                  <a:cubicBezTo>
                    <a:pt x="1474273" y="609453"/>
                    <a:pt x="1509154" y="494344"/>
                    <a:pt x="1578918" y="413728"/>
                  </a:cubicBezTo>
                  <a:cubicBezTo>
                    <a:pt x="1609148" y="378072"/>
                    <a:pt x="1644417" y="349391"/>
                    <a:pt x="1684725" y="327687"/>
                  </a:cubicBezTo>
                  <a:cubicBezTo>
                    <a:pt x="1752938" y="289705"/>
                    <a:pt x="1830065" y="270714"/>
                    <a:pt x="1916106" y="270714"/>
                  </a:cubicBezTo>
                  <a:cubicBezTo>
                    <a:pt x="1957964" y="270714"/>
                    <a:pt x="1998659" y="276527"/>
                    <a:pt x="2038192" y="288155"/>
                  </a:cubicBezTo>
                  <a:cubicBezTo>
                    <a:pt x="2090902" y="305983"/>
                    <a:pt x="2134310" y="335826"/>
                    <a:pt x="2168416" y="377684"/>
                  </a:cubicBezTo>
                  <a:cubicBezTo>
                    <a:pt x="2185469" y="380785"/>
                    <a:pt x="2199034" y="374583"/>
                    <a:pt x="2209112" y="359081"/>
                  </a:cubicBezTo>
                  <a:lnTo>
                    <a:pt x="2210274" y="357918"/>
                  </a:lnTo>
                  <a:cubicBezTo>
                    <a:pt x="2218026" y="340865"/>
                    <a:pt x="2215700" y="324587"/>
                    <a:pt x="2203298" y="309084"/>
                  </a:cubicBezTo>
                  <a:cubicBezTo>
                    <a:pt x="2192446" y="297456"/>
                    <a:pt x="2175393" y="285442"/>
                    <a:pt x="2152138" y="273039"/>
                  </a:cubicBezTo>
                  <a:close/>
                  <a:moveTo>
                    <a:pt x="4176880" y="73051"/>
                  </a:moveTo>
                  <a:lnTo>
                    <a:pt x="4286176" y="76540"/>
                  </a:lnTo>
                  <a:lnTo>
                    <a:pt x="4401285" y="73051"/>
                  </a:lnTo>
                  <a:cubicBezTo>
                    <a:pt x="4404385" y="79277"/>
                    <a:pt x="4409424" y="89027"/>
                    <a:pt x="4416400" y="102301"/>
                  </a:cubicBezTo>
                  <a:cubicBezTo>
                    <a:pt x="4423376" y="115576"/>
                    <a:pt x="4433066" y="132356"/>
                    <a:pt x="4445468" y="152643"/>
                  </a:cubicBezTo>
                  <a:cubicBezTo>
                    <a:pt x="4466397" y="188554"/>
                    <a:pt x="4480738" y="215097"/>
                    <a:pt x="4488489" y="232271"/>
                  </a:cubicBezTo>
                  <a:lnTo>
                    <a:pt x="4486163" y="232271"/>
                  </a:lnTo>
                  <a:cubicBezTo>
                    <a:pt x="4479187" y="232271"/>
                    <a:pt x="4461359" y="234609"/>
                    <a:pt x="4432678" y="239284"/>
                  </a:cubicBezTo>
                  <a:cubicBezTo>
                    <a:pt x="4419501" y="240834"/>
                    <a:pt x="4405161" y="242391"/>
                    <a:pt x="4389658" y="243953"/>
                  </a:cubicBezTo>
                  <a:cubicBezTo>
                    <a:pt x="4374155" y="245516"/>
                    <a:pt x="4357877" y="246684"/>
                    <a:pt x="4340823" y="247459"/>
                  </a:cubicBezTo>
                  <a:cubicBezTo>
                    <a:pt x="4332297" y="234972"/>
                    <a:pt x="4323576" y="221316"/>
                    <a:pt x="4314662" y="206492"/>
                  </a:cubicBezTo>
                  <a:cubicBezTo>
                    <a:pt x="4305748" y="191667"/>
                    <a:pt x="4296640" y="175280"/>
                    <a:pt x="4287338" y="157330"/>
                  </a:cubicBezTo>
                  <a:lnTo>
                    <a:pt x="4226877" y="247459"/>
                  </a:lnTo>
                  <a:cubicBezTo>
                    <a:pt x="4214475" y="246684"/>
                    <a:pt x="4200522" y="246103"/>
                    <a:pt x="4185019" y="245715"/>
                  </a:cubicBezTo>
                  <a:cubicBezTo>
                    <a:pt x="4169516" y="245328"/>
                    <a:pt x="4152851" y="244746"/>
                    <a:pt x="4135022" y="243971"/>
                  </a:cubicBezTo>
                  <a:lnTo>
                    <a:pt x="4057120" y="241628"/>
                  </a:lnTo>
                  <a:cubicBezTo>
                    <a:pt x="4065647" y="228353"/>
                    <a:pt x="4075336" y="214107"/>
                    <a:pt x="4086188" y="198889"/>
                  </a:cubicBezTo>
                  <a:cubicBezTo>
                    <a:pt x="4097040" y="183670"/>
                    <a:pt x="4108667" y="168255"/>
                    <a:pt x="4121069" y="152643"/>
                  </a:cubicBezTo>
                  <a:cubicBezTo>
                    <a:pt x="4148975" y="115182"/>
                    <a:pt x="4167578" y="88651"/>
                    <a:pt x="4176880" y="73051"/>
                  </a:cubicBezTo>
                  <a:close/>
                  <a:moveTo>
                    <a:pt x="1966975" y="91"/>
                  </a:moveTo>
                  <a:cubicBezTo>
                    <a:pt x="1981897" y="-491"/>
                    <a:pt x="1995946" y="1738"/>
                    <a:pt x="2009124" y="6776"/>
                  </a:cubicBezTo>
                  <a:cubicBezTo>
                    <a:pt x="2033928" y="17628"/>
                    <a:pt x="2050982" y="35069"/>
                    <a:pt x="2060283" y="59099"/>
                  </a:cubicBezTo>
                  <a:cubicBezTo>
                    <a:pt x="2071911" y="87779"/>
                    <a:pt x="2069973" y="116847"/>
                    <a:pt x="2054470" y="146303"/>
                  </a:cubicBezTo>
                  <a:cubicBezTo>
                    <a:pt x="2037417" y="178859"/>
                    <a:pt x="2006798" y="204051"/>
                    <a:pt x="1962615" y="221880"/>
                  </a:cubicBezTo>
                  <a:lnTo>
                    <a:pt x="1921920" y="233507"/>
                  </a:lnTo>
                  <a:lnTo>
                    <a:pt x="1909130" y="203276"/>
                  </a:lnTo>
                  <a:cubicBezTo>
                    <a:pt x="1913781" y="202501"/>
                    <a:pt x="1921532" y="198044"/>
                    <a:pt x="1932384" y="189905"/>
                  </a:cubicBezTo>
                  <a:cubicBezTo>
                    <a:pt x="1943236" y="181766"/>
                    <a:pt x="1953701" y="171495"/>
                    <a:pt x="1963778" y="159093"/>
                  </a:cubicBezTo>
                  <a:cubicBezTo>
                    <a:pt x="1977730" y="141264"/>
                    <a:pt x="1980443" y="122273"/>
                    <a:pt x="1971917" y="102119"/>
                  </a:cubicBezTo>
                  <a:cubicBezTo>
                    <a:pt x="1964165" y="88167"/>
                    <a:pt x="1952732" y="80803"/>
                    <a:pt x="1937617" y="80028"/>
                  </a:cubicBezTo>
                  <a:cubicBezTo>
                    <a:pt x="1922501" y="79253"/>
                    <a:pt x="1909517" y="86229"/>
                    <a:pt x="1898665" y="100957"/>
                  </a:cubicBezTo>
                  <a:lnTo>
                    <a:pt x="1838204" y="64912"/>
                  </a:lnTo>
                  <a:cubicBezTo>
                    <a:pt x="1869985" y="37007"/>
                    <a:pt x="1897115" y="18791"/>
                    <a:pt x="1919594" y="10265"/>
                  </a:cubicBezTo>
                  <a:cubicBezTo>
                    <a:pt x="1936260" y="4063"/>
                    <a:pt x="1952053" y="672"/>
                    <a:pt x="1966975" y="91"/>
                  </a:cubicBezTo>
                  <a:close/>
                </a:path>
              </a:pathLst>
            </a:custGeom>
            <a:gradFill>
              <a:gsLst>
                <a:gs pos="100000">
                  <a:schemeClr val="accent5"/>
                </a:gs>
                <a:gs pos="0">
                  <a:schemeClr val="accent6">
                    <a:lumMod val="75000"/>
                  </a:schemeClr>
                </a:gs>
              </a:gsLst>
              <a:lin ang="5400000" scaled="1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00" b="0" i="0" u="none" strike="noStrike" kern="1200" cap="none" spc="300" normalizeH="0" baseline="0" noProof="0">
                <a:ln>
                  <a:noFill/>
                </a:ln>
                <a:gradFill>
                  <a:gsLst>
                    <a:gs pos="100000">
                      <a:srgbClr val="FC6E51"/>
                    </a:gs>
                    <a:gs pos="0">
                      <a:srgbClr val="ED5565">
                        <a:lumMod val="75000"/>
                      </a:srgbClr>
                    </a:gs>
                  </a:gsLst>
                  <a:lin ang="5400000" scaled="1"/>
                </a:gradFill>
                <a:effectLst/>
                <a:uLnTx/>
                <a:uFillTx/>
                <a:latin typeface="#9Slide07 Crocante" panose="02000000000000000000" pitchFamily="2" charset="0"/>
                <a:ea typeface="+mn-ea"/>
                <a:cs typeface="+mn-cs"/>
              </a:endParaRPr>
            </a:p>
          </p:txBody>
        </p:sp>
      </p:grpSp>
      <p:pic>
        <p:nvPicPr>
          <p:cNvPr id="2" name="co_4_manh_ghep_moi_manh_ghep_ung_voi_1_cau_hoi_f7cef428-64fd-4173-b203-a61ff353c679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5002879" y="3289729"/>
            <a:ext cx="609600" cy="609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7440336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2" presetClass="emph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Rot by="120000">
                                      <p:cBhvr>
                                        <p:cTn id="12" dur="7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150" fill="hold">
                                          <p:stCondLst>
                                            <p:cond delay="15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4" dur="15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15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6" dur="15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1" dur="1073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audio>
              <p:cMediaNode vol="80000">
                <p:cTn id="2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D8C3B8B-8455-BFC3-198F-BEDA465FA00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49"/>
          <a:stretch/>
        </p:blipFill>
        <p:spPr>
          <a:xfrm>
            <a:off x="-290623" y="0"/>
            <a:ext cx="12344400" cy="686724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pic>
        <p:nvPicPr>
          <p:cNvPr id="2" name="co_4_manh_ghep_moi_manh_ghep_ung_voi_1_cau_hoi_f7cef428-64fd-4173-b203-a61ff353c679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5002879" y="3289729"/>
            <a:ext cx="609600" cy="6096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D7C1B2F-1C52-F062-B5FA-0E35208A9002}"/>
              </a:ext>
            </a:extLst>
          </p:cNvPr>
          <p:cNvSpPr txBox="1"/>
          <p:nvPr/>
        </p:nvSpPr>
        <p:spPr>
          <a:xfrm>
            <a:off x="1074963" y="1429913"/>
            <a:ext cx="7695761" cy="76944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4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Ò CHƠI: LẬT MẢNH GHÉ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994017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73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ntent Placeholder 4" descr="A cartoon of a person and person in a garden&#10;&#10;AI-generated content may be incorrect.">
            <a:extLst>
              <a:ext uri="{FF2B5EF4-FFF2-40B4-BE49-F238E27FC236}">
                <a16:creationId xmlns:a16="http://schemas.microsoft.com/office/drawing/2014/main" id="{DF94716A-E261-659D-46D9-C0F4B2BA81E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293" y="904072"/>
            <a:ext cx="10105276" cy="514188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F1B2C0A-EC4E-48A1-A3BB-4D8060FA1D7E}"/>
              </a:ext>
            </a:extLst>
          </p:cNvPr>
          <p:cNvSpPr/>
          <p:nvPr/>
        </p:nvSpPr>
        <p:spPr>
          <a:xfrm>
            <a:off x="1016293" y="853194"/>
            <a:ext cx="5025569" cy="257597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B03C87-8016-4F2C-BE11-20419171810D}"/>
              </a:ext>
            </a:extLst>
          </p:cNvPr>
          <p:cNvSpPr/>
          <p:nvPr/>
        </p:nvSpPr>
        <p:spPr>
          <a:xfrm>
            <a:off x="6041862" y="848504"/>
            <a:ext cx="5025569" cy="257597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A816BB2-5D10-4F22-950C-06A6152C101A}"/>
              </a:ext>
            </a:extLst>
          </p:cNvPr>
          <p:cNvSpPr/>
          <p:nvPr/>
        </p:nvSpPr>
        <p:spPr>
          <a:xfrm>
            <a:off x="1016292" y="3424478"/>
            <a:ext cx="5025569" cy="257597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9186DE1-4033-44D5-9D00-8482C127B872}"/>
              </a:ext>
            </a:extLst>
          </p:cNvPr>
          <p:cNvSpPr/>
          <p:nvPr/>
        </p:nvSpPr>
        <p:spPr>
          <a:xfrm>
            <a:off x="6049454" y="3417980"/>
            <a:ext cx="5025569" cy="257597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hlinkClick r:id="rId6" action="ppaction://hlinksldjump"/>
            <a:extLst>
              <a:ext uri="{FF2B5EF4-FFF2-40B4-BE49-F238E27FC236}">
                <a16:creationId xmlns:a16="http://schemas.microsoft.com/office/drawing/2014/main" id="{4226751A-0CA7-445A-A0E1-BB8BB618B7E9}"/>
              </a:ext>
            </a:extLst>
          </p:cNvPr>
          <p:cNvSpPr txBox="1"/>
          <p:nvPr/>
        </p:nvSpPr>
        <p:spPr>
          <a:xfrm>
            <a:off x="960034" y="836578"/>
            <a:ext cx="500949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600" b="1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11" name="TextBox 10">
            <a:hlinkClick r:id="rId7" action="ppaction://hlinksldjump"/>
            <a:extLst>
              <a:ext uri="{FF2B5EF4-FFF2-40B4-BE49-F238E27FC236}">
                <a16:creationId xmlns:a16="http://schemas.microsoft.com/office/drawing/2014/main" id="{13ED8A59-08DF-46C7-B198-CA57242AC73B}"/>
              </a:ext>
            </a:extLst>
          </p:cNvPr>
          <p:cNvSpPr txBox="1"/>
          <p:nvPr/>
        </p:nvSpPr>
        <p:spPr>
          <a:xfrm>
            <a:off x="6041861" y="879091"/>
            <a:ext cx="4969311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600" b="1" dirty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12" name="TextBox 11">
            <a:hlinkClick r:id="rId8" action="ppaction://hlinksldjump"/>
            <a:extLst>
              <a:ext uri="{FF2B5EF4-FFF2-40B4-BE49-F238E27FC236}">
                <a16:creationId xmlns:a16="http://schemas.microsoft.com/office/drawing/2014/main" id="{D0D3075A-1906-463A-A181-B32D77EA1D28}"/>
              </a:ext>
            </a:extLst>
          </p:cNvPr>
          <p:cNvSpPr txBox="1"/>
          <p:nvPr/>
        </p:nvSpPr>
        <p:spPr>
          <a:xfrm>
            <a:off x="1070431" y="3424064"/>
            <a:ext cx="4710345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600" b="1" dirty="0">
                <a:solidFill>
                  <a:srgbClr val="FF0000"/>
                </a:solidFill>
              </a:rPr>
              <a:t>3</a:t>
            </a:r>
          </a:p>
        </p:txBody>
      </p:sp>
      <p:sp>
        <p:nvSpPr>
          <p:cNvPr id="13" name="TextBox 12">
            <a:hlinkClick r:id="rId9" action="ppaction://hlinksldjump"/>
            <a:extLst>
              <a:ext uri="{FF2B5EF4-FFF2-40B4-BE49-F238E27FC236}">
                <a16:creationId xmlns:a16="http://schemas.microsoft.com/office/drawing/2014/main" id="{4506A57A-E9F3-419D-B033-6B8E4030806B}"/>
              </a:ext>
            </a:extLst>
          </p:cNvPr>
          <p:cNvSpPr txBox="1"/>
          <p:nvPr/>
        </p:nvSpPr>
        <p:spPr>
          <a:xfrm>
            <a:off x="5987724" y="3411574"/>
            <a:ext cx="5025569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600" b="1" dirty="0">
                <a:solidFill>
                  <a:srgbClr val="FF0000"/>
                </a:solidFill>
              </a:rPr>
              <a:t>4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0C5DF56-EFEF-4FC4-8BCF-7A209BDCA61E}"/>
              </a:ext>
            </a:extLst>
          </p:cNvPr>
          <p:cNvSpPr txBox="1"/>
          <p:nvPr/>
        </p:nvSpPr>
        <p:spPr>
          <a:xfrm>
            <a:off x="-628357" y="-11020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ìm</a:t>
            </a:r>
            <a:r>
              <a:rPr lang="en-US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ương</a:t>
            </a:r>
            <a:r>
              <a:rPr lang="en-US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ố</a:t>
            </a:r>
            <a:r>
              <a:rPr lang="en-US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ư</a:t>
            </a:r>
            <a:r>
              <a:rPr lang="en-US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ép</a:t>
            </a:r>
            <a:r>
              <a:rPr lang="en-US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chia </a:t>
            </a:r>
            <a:r>
              <a:rPr lang="en-US" sz="32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u</a:t>
            </a:r>
            <a:r>
              <a:rPr lang="en-US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</p:txBody>
      </p:sp>
      <p:sp>
        <p:nvSpPr>
          <p:cNvPr id="2" name="5-Point Star 1">
            <a:hlinkClick r:id="rId10" action="ppaction://hlinksldjump"/>
          </p:cNvPr>
          <p:cNvSpPr/>
          <p:nvPr/>
        </p:nvSpPr>
        <p:spPr>
          <a:xfrm>
            <a:off x="11563643" y="6288258"/>
            <a:ext cx="478302" cy="422031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506D78-836F-0720-2FD5-7411B99C62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8936" y="550102"/>
            <a:ext cx="2966997" cy="461665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0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 : 3 = 2 (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ư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)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rgbClr val="FFFF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DDAC2B4-21A3-DFAD-C374-72D1A32224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6517" y="811617"/>
            <a:ext cx="2638561" cy="461665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0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 : 6 = 4 (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ư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0)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rgbClr val="FFFF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3D172A2-BE5D-FA80-F82C-4078460FA0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8700" y="5989561"/>
            <a:ext cx="2691104" cy="64633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36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5 : 2 = 42 (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ư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1)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rgbClr val="FFFF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9C9C1F-0757-DF82-7FB1-AE265E269D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1638" y="5966077"/>
            <a:ext cx="2865140" cy="461665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0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93 : 3 = 131 (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ư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0)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rgbClr val="FFFF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138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himes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8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4" name="applause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14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himes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20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himes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2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23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4" name="applause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seq concurrent="1" nextAc="seek">
              <p:cTn id="26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7" fill="hold">
                      <p:stCondLst>
                        <p:cond delay="0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29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himes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seq concurrent="1" nextAc="seek">
              <p:cTn id="32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3" fill="hold">
                      <p:stCondLst>
                        <p:cond delay="0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3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himes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seq concurrent="1" nextAc="seek">
              <p:cTn id="3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9" fill="hold">
                      <p:stCondLst>
                        <p:cond delay="0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41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himes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  <p:seq concurrent="1" nextAc="seek">
              <p:cTn id="44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5" fill="hold">
                      <p:stCondLst>
                        <p:cond delay="0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47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himes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5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0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4" name="applause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  <p:seq concurrent="1" nextAc="seek">
              <p:cTn id="53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54" fill="hold">
                      <p:stCondLst>
                        <p:cond delay="0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6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himes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5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9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4" name="applause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/>
      <p:bldP spid="11" grpId="0"/>
      <p:bldP spid="12" grpId="0"/>
      <p:bldP spid="13" grpId="0"/>
      <p:bldP spid="16" grpId="0" animBg="1"/>
      <p:bldP spid="17" grpId="0" animBg="1"/>
      <p:bldP spid="18" grpId="0" animBg="1"/>
      <p:bldP spid="1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>
            <a:extLst>
              <a:ext uri="{FF2B5EF4-FFF2-40B4-BE49-F238E27FC236}">
                <a16:creationId xmlns:a16="http://schemas.microsoft.com/office/drawing/2014/main" id="{0034A797-8D08-4859-AC5D-A7FFB3D4D5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6350" y="2975157"/>
            <a:ext cx="3471170" cy="830997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0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48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 : 3 =</a:t>
            </a:r>
            <a:r>
              <a:rPr kumimoji="0" lang="en-US" altLang="en-US" sz="4800" b="1" i="0" u="none" strike="noStrike" cap="none" normalizeH="0" baseline="0" dirty="0">
                <a:ln>
                  <a:noFill/>
                </a:ln>
                <a:solidFill>
                  <a:srgbClr val="FFFF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73E792A-B1E8-42EF-94FA-E46416FA527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376363" y="-136525"/>
            <a:ext cx="1905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ction Button: Go Home 12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B09DCDBD-4D4D-4D93-939C-0FC4180718E4}"/>
              </a:ext>
            </a:extLst>
          </p:cNvPr>
          <p:cNvSpPr/>
          <p:nvPr/>
        </p:nvSpPr>
        <p:spPr>
          <a:xfrm>
            <a:off x="11043821" y="6116715"/>
            <a:ext cx="639193" cy="674702"/>
          </a:xfrm>
          <a:prstGeom prst="actionButtonHo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B05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A506D78-836F-0720-2FD5-7411B99C62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8013" y="2975157"/>
            <a:ext cx="5555973" cy="830997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0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48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 : 3 = 2 (</a:t>
            </a:r>
            <a:r>
              <a:rPr lang="en-US" altLang="en-US" sz="4800" b="1" dirty="0" err="1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ư</a:t>
            </a:r>
            <a:r>
              <a:rPr lang="en-US" altLang="en-US" sz="48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)</a:t>
            </a:r>
            <a:r>
              <a:rPr kumimoji="0" lang="en-US" altLang="en-US" sz="4800" b="1" i="0" u="none" strike="noStrike" cap="none" normalizeH="0" baseline="0" dirty="0">
                <a:ln>
                  <a:noFill/>
                </a:ln>
                <a:solidFill>
                  <a:srgbClr val="FFFF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68737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0000"/>
                                      </p:to>
                                    </p:animClr>
                                    <p:set>
                                      <p:cBhvr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2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0000"/>
                                      </p:to>
                                    </p:animClr>
                                    <p:set>
                                      <p:cBhvr>
                                        <p:cTn id="23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>
            <a:extLst>
              <a:ext uri="{FF2B5EF4-FFF2-40B4-BE49-F238E27FC236}">
                <a16:creationId xmlns:a16="http://schemas.microsoft.com/office/drawing/2014/main" id="{0034A797-8D08-4859-AC5D-A7FFB3D4D5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810" y="2905780"/>
            <a:ext cx="3681273" cy="64633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0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36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 : 6 =</a:t>
            </a:r>
            <a:r>
              <a:rPr kumimoji="0" lang="en-US" altLang="en-US" sz="3600" b="1" i="0" u="none" strike="noStrike" cap="none" normalizeH="0" baseline="0" dirty="0">
                <a:ln>
                  <a:noFill/>
                </a:ln>
                <a:solidFill>
                  <a:srgbClr val="FFFF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73E792A-B1E8-42EF-94FA-E46416FA527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376363" y="-136525"/>
            <a:ext cx="1905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ction Button: Go Home 8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EBC8FFCE-4301-4B7B-9139-9C15B1A7F8EA}"/>
              </a:ext>
            </a:extLst>
          </p:cNvPr>
          <p:cNvSpPr/>
          <p:nvPr/>
        </p:nvSpPr>
        <p:spPr>
          <a:xfrm>
            <a:off x="11043821" y="6116715"/>
            <a:ext cx="639193" cy="674702"/>
          </a:xfrm>
          <a:prstGeom prst="actionButtonHo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DAC2B4-21A3-DFAD-C374-72D1A32224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810" y="2813447"/>
            <a:ext cx="4421290" cy="830997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0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48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 : 6 = 4 (</a:t>
            </a:r>
            <a:r>
              <a:rPr lang="en-US" altLang="en-US" sz="4800" b="1" dirty="0" err="1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ư</a:t>
            </a:r>
            <a:r>
              <a:rPr lang="en-US" altLang="en-US" sz="48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0)</a:t>
            </a:r>
            <a:r>
              <a:rPr kumimoji="0" lang="en-US" altLang="en-US" sz="4800" b="1" i="0" u="none" strike="noStrike" cap="none" normalizeH="0" baseline="0" dirty="0">
                <a:ln>
                  <a:noFill/>
                </a:ln>
                <a:solidFill>
                  <a:srgbClr val="FFFF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46851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0000"/>
                                      </p:to>
                                    </p:animClr>
                                    <p:set>
                                      <p:cBhvr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2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0000"/>
                                      </p:to>
                                    </p:animClr>
                                    <p:set>
                                      <p:cBhvr>
                                        <p:cTn id="23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>
            <a:extLst>
              <a:ext uri="{FF2B5EF4-FFF2-40B4-BE49-F238E27FC236}">
                <a16:creationId xmlns:a16="http://schemas.microsoft.com/office/drawing/2014/main" id="{0034A797-8D08-4859-AC5D-A7FFB3D4D5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6593" y="3105835"/>
            <a:ext cx="3787807" cy="64633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36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85 : 2 =</a:t>
            </a:r>
            <a:endParaRPr kumimoji="0" lang="en-US" altLang="en-US" sz="3600" b="1" i="0" u="none" strike="noStrike" cap="none" normalizeH="0" baseline="0" dirty="0">
              <a:ln>
                <a:noFill/>
              </a:ln>
              <a:solidFill>
                <a:srgbClr val="FFFF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73E792A-B1E8-42EF-94FA-E46416FA527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376363" y="-136525"/>
            <a:ext cx="1905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ction Button: Go Home 8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39F4EF53-02FA-4D62-B1A5-138B65843454}"/>
              </a:ext>
            </a:extLst>
          </p:cNvPr>
          <p:cNvSpPr/>
          <p:nvPr/>
        </p:nvSpPr>
        <p:spPr>
          <a:xfrm>
            <a:off x="11043821" y="6116715"/>
            <a:ext cx="639193" cy="674702"/>
          </a:xfrm>
          <a:prstGeom prst="actionButtonHo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B05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3D172A2-BE5D-FA80-F82C-4078460FA0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7200" y="3105834"/>
            <a:ext cx="3787807" cy="64633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36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85 : 2 = 42 (</a:t>
            </a:r>
            <a:r>
              <a:rPr lang="en-US" altLang="en-US" sz="3600" b="1" dirty="0" err="1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ư</a:t>
            </a:r>
            <a:r>
              <a:rPr lang="en-US" altLang="en-US" sz="36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1)</a:t>
            </a:r>
            <a:endParaRPr kumimoji="0" lang="en-US" altLang="en-US" sz="3600" b="1" i="0" u="none" strike="noStrike" cap="none" normalizeH="0" baseline="0" dirty="0">
              <a:ln>
                <a:noFill/>
              </a:ln>
              <a:solidFill>
                <a:srgbClr val="FFFF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4053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0000"/>
                                      </p:to>
                                    </p:animClr>
                                    <p:set>
                                      <p:cBhvr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2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0000"/>
                                      </p:to>
                                    </p:animClr>
                                    <p:set>
                                      <p:cBhvr>
                                        <p:cTn id="23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>
            <a:extLst>
              <a:ext uri="{FF2B5EF4-FFF2-40B4-BE49-F238E27FC236}">
                <a16:creationId xmlns:a16="http://schemas.microsoft.com/office/drawing/2014/main" id="{0034A797-8D08-4859-AC5D-A7FFB3D4D5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1219" y="2991793"/>
            <a:ext cx="4742842" cy="64633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0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36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93 : 3 =</a:t>
            </a:r>
            <a:endParaRPr kumimoji="0" lang="en-US" altLang="en-US" sz="3600" b="1" i="0" u="none" strike="noStrike" cap="none" normalizeH="0" baseline="0" dirty="0">
              <a:ln>
                <a:noFill/>
              </a:ln>
              <a:solidFill>
                <a:srgbClr val="FFFF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73E792A-B1E8-42EF-94FA-E46416FA527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376363" y="-136525"/>
            <a:ext cx="1905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ction Button: Go Home 8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0BC23B83-E257-4D83-8D68-7F2FD58A9A02}"/>
              </a:ext>
            </a:extLst>
          </p:cNvPr>
          <p:cNvSpPr/>
          <p:nvPr/>
        </p:nvSpPr>
        <p:spPr>
          <a:xfrm>
            <a:off x="11043821" y="6116715"/>
            <a:ext cx="639193" cy="674702"/>
          </a:xfrm>
          <a:prstGeom prst="actionButtonHo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B05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C9C9C1F-0757-DF82-7FB1-AE265E269D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1219" y="2991793"/>
            <a:ext cx="4742842" cy="64633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0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36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93 : 3 = 131 (</a:t>
            </a:r>
            <a:r>
              <a:rPr lang="en-US" altLang="en-US" sz="3600" b="1" dirty="0" err="1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ư</a:t>
            </a:r>
            <a:r>
              <a:rPr lang="en-US" altLang="en-US" sz="36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0)</a:t>
            </a:r>
            <a:endParaRPr kumimoji="0" lang="en-US" altLang="en-US" sz="3600" b="1" i="0" u="none" strike="noStrike" cap="none" normalizeH="0" baseline="0" dirty="0">
              <a:ln>
                <a:noFill/>
              </a:ln>
              <a:solidFill>
                <a:srgbClr val="FFFF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8060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video">
            <a:hlinkClick r:id="" action="ppaction://media"/>
            <a:extLst>
              <a:ext uri="{FF2B5EF4-FFF2-40B4-BE49-F238E27FC236}">
                <a16:creationId xmlns:a16="http://schemas.microsoft.com/office/drawing/2014/main" id="{250C68D0-E275-3676-F066-02C34558F74F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976438" y="0"/>
            <a:ext cx="8235950" cy="6176963"/>
          </a:xfrm>
        </p:spPr>
      </p:pic>
    </p:spTree>
    <p:extLst>
      <p:ext uri="{BB962C8B-B14F-4D97-AF65-F5344CB8AC3E}">
        <p14:creationId xmlns:p14="http://schemas.microsoft.com/office/powerpoint/2010/main" val="6551748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72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15</TotalTime>
  <Words>158</Words>
  <Application>Microsoft Office PowerPoint</Application>
  <PresentationFormat>Widescreen</PresentationFormat>
  <Paragraphs>44</Paragraphs>
  <Slides>12</Slides>
  <Notes>7</Notes>
  <HiddenSlides>0</HiddenSlides>
  <MMClips>4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#9Slide07 Crocante</vt:lpstr>
      <vt:lpstr>Aptos</vt:lpstr>
      <vt:lpstr>Arial</vt:lpstr>
      <vt:lpstr>Calibri</vt:lpstr>
      <vt:lpstr>Calibri Light</vt:lpstr>
      <vt:lpstr>Times New Roman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guyễn Ngọc Đức</dc:creator>
  <cp:lastModifiedBy>Admin</cp:lastModifiedBy>
  <cp:revision>67</cp:revision>
  <dcterms:created xsi:type="dcterms:W3CDTF">2021-04-20T15:01:31Z</dcterms:created>
  <dcterms:modified xsi:type="dcterms:W3CDTF">2026-04-12T20:51:06Z</dcterms:modified>
</cp:coreProperties>
</file>